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3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5" r:id="rId2"/>
    <p:sldMasterId id="2147483667" r:id="rId3"/>
    <p:sldMasterId id="2147483670" r:id="rId4"/>
    <p:sldMasterId id="2147483674" r:id="rId5"/>
    <p:sldMasterId id="2147483676" r:id="rId6"/>
  </p:sldMasterIdLst>
  <p:notesMasterIdLst>
    <p:notesMasterId r:id="rId23"/>
  </p:notesMasterIdLst>
  <p:sldIdLst>
    <p:sldId id="261" r:id="rId7"/>
    <p:sldId id="263" r:id="rId8"/>
    <p:sldId id="271" r:id="rId9"/>
    <p:sldId id="272" r:id="rId10"/>
    <p:sldId id="273" r:id="rId11"/>
    <p:sldId id="269" r:id="rId12"/>
    <p:sldId id="274" r:id="rId13"/>
    <p:sldId id="275" r:id="rId14"/>
    <p:sldId id="257" r:id="rId15"/>
    <p:sldId id="258" r:id="rId16"/>
    <p:sldId id="268" r:id="rId17"/>
    <p:sldId id="270" r:id="rId18"/>
    <p:sldId id="259" r:id="rId19"/>
    <p:sldId id="260" r:id="rId20"/>
    <p:sldId id="265" r:id="rId21"/>
    <p:sldId id="264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93"/>
    <p:restoredTop sz="95768" autoAdjust="0"/>
  </p:normalViewPr>
  <p:slideViewPr>
    <p:cSldViewPr snapToGrid="0" snapToObjects="1">
      <p:cViewPr varScale="1">
        <p:scale>
          <a:sx n="74" d="100"/>
          <a:sy n="74" d="100"/>
        </p:scale>
        <p:origin x="55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bleStyles" Target="tableStyles.xml"/></Relationships>
</file>

<file path=ppt/diagrams/_rels/data6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6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B70C526-E9B8-384C-9A12-141CA861A7D1}" type="doc">
      <dgm:prSet loTypeId="urn:microsoft.com/office/officeart/2005/8/layout/lProcess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2AA8C9F-C598-0B44-8122-FB7F1A7BBDF8}">
      <dgm:prSet phldrT="[Text]" custT="1"/>
      <dgm:spPr/>
      <dgm:t>
        <a:bodyPr/>
        <a:lstStyle/>
        <a:p>
          <a:r>
            <a:rPr lang="en-US" sz="2000" dirty="0" err="1"/>
            <a:t>Definiciones</a:t>
          </a:r>
          <a:r>
            <a:rPr lang="en-US" sz="2000" dirty="0"/>
            <a:t> con que se </a:t>
          </a:r>
          <a:r>
            <a:rPr lang="en-US" sz="2000" dirty="0" err="1"/>
            <a:t>gestionan</a:t>
          </a:r>
          <a:r>
            <a:rPr lang="en-US" sz="2000" dirty="0"/>
            <a:t> las LE No GES:</a:t>
          </a:r>
        </a:p>
      </dgm:t>
    </dgm:pt>
    <dgm:pt modelId="{BF486E3A-711D-2A42-AE19-E17DC0728117}" type="parTrans" cxnId="{057C68D1-2ED7-1B49-AC1C-C209EE678B0A}">
      <dgm:prSet/>
      <dgm:spPr/>
      <dgm:t>
        <a:bodyPr/>
        <a:lstStyle/>
        <a:p>
          <a:endParaRPr lang="en-US"/>
        </a:p>
      </dgm:t>
    </dgm:pt>
    <dgm:pt modelId="{4A99C272-14E2-C34A-9928-CC07CCDB6293}" type="sibTrans" cxnId="{057C68D1-2ED7-1B49-AC1C-C209EE678B0A}">
      <dgm:prSet/>
      <dgm:spPr/>
      <dgm:t>
        <a:bodyPr/>
        <a:lstStyle/>
        <a:p>
          <a:endParaRPr lang="en-US"/>
        </a:p>
      </dgm:t>
    </dgm:pt>
    <dgm:pt modelId="{F00AC0CA-8F88-AA42-96B2-3CF1D08A07A4}">
      <dgm:prSet phldrT="[Text]"/>
      <dgm:spPr/>
      <dgm:t>
        <a:bodyPr/>
        <a:lstStyle/>
        <a:p>
          <a:r>
            <a:rPr lang="en-US" dirty="0">
              <a:solidFill>
                <a:schemeClr val="accent6">
                  <a:lumMod val="75000"/>
                </a:schemeClr>
              </a:solidFill>
            </a:rPr>
            <a:t>No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considera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tiempo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resolución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razonable</a:t>
          </a:r>
          <a:endParaRPr lang="en-US" dirty="0">
            <a:solidFill>
              <a:schemeClr val="accent6">
                <a:lumMod val="75000"/>
              </a:schemeClr>
            </a:solidFill>
          </a:endParaRPr>
        </a:p>
      </dgm:t>
    </dgm:pt>
    <dgm:pt modelId="{EADA1985-1014-D34A-B41A-9D4EB4D70A29}" type="parTrans" cxnId="{3893D981-AAB8-DA46-99B4-28B78260F517}">
      <dgm:prSet/>
      <dgm:spPr/>
      <dgm:t>
        <a:bodyPr/>
        <a:lstStyle/>
        <a:p>
          <a:endParaRPr lang="en-US"/>
        </a:p>
      </dgm:t>
    </dgm:pt>
    <dgm:pt modelId="{548E9BFD-4CDE-AD4B-A6DB-33C0317FFC6A}" type="sibTrans" cxnId="{3893D981-AAB8-DA46-99B4-28B78260F517}">
      <dgm:prSet/>
      <dgm:spPr/>
      <dgm:t>
        <a:bodyPr/>
        <a:lstStyle/>
        <a:p>
          <a:endParaRPr lang="en-US"/>
        </a:p>
      </dgm:t>
    </dgm:pt>
    <dgm:pt modelId="{C5C69062-BFAF-B74D-840F-2710E6651517}">
      <dgm:prSet phldrT="[Text]"/>
      <dgm:spPr/>
      <dgm:t>
        <a:bodyPr/>
        <a:lstStyle/>
        <a:p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Causale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egreso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poco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claras</a:t>
          </a:r>
          <a:endParaRPr lang="en-US" dirty="0">
            <a:solidFill>
              <a:schemeClr val="accent6">
                <a:lumMod val="75000"/>
              </a:schemeClr>
            </a:solidFill>
          </a:endParaRPr>
        </a:p>
      </dgm:t>
    </dgm:pt>
    <dgm:pt modelId="{9ADDB603-5EB9-FB4F-83BC-13443E956094}" type="parTrans" cxnId="{CE234784-25E6-8744-A2E7-771443212863}">
      <dgm:prSet/>
      <dgm:spPr/>
      <dgm:t>
        <a:bodyPr/>
        <a:lstStyle/>
        <a:p>
          <a:endParaRPr lang="en-US"/>
        </a:p>
      </dgm:t>
    </dgm:pt>
    <dgm:pt modelId="{DB52D9D4-A6BF-DB44-AB50-F4FDC5F0A1CB}" type="sibTrans" cxnId="{CE234784-25E6-8744-A2E7-771443212863}">
      <dgm:prSet/>
      <dgm:spPr/>
      <dgm:t>
        <a:bodyPr/>
        <a:lstStyle/>
        <a:p>
          <a:endParaRPr lang="en-US"/>
        </a:p>
      </dgm:t>
    </dgm:pt>
    <dgm:pt modelId="{66DD4312-892F-ED4E-9993-C4B604B9A646}">
      <dgm:prSet phldrT="[Text]" custT="1"/>
      <dgm:spPr/>
      <dgm:t>
        <a:bodyPr/>
        <a:lstStyle/>
        <a:p>
          <a:r>
            <a:rPr lang="en-US" sz="2000" dirty="0" err="1"/>
            <a:t>Respecto</a:t>
          </a:r>
          <a:r>
            <a:rPr lang="en-US" sz="2000" dirty="0"/>
            <a:t> del </a:t>
          </a:r>
          <a:r>
            <a:rPr lang="en-US" sz="2000" dirty="0" err="1"/>
            <a:t>registro</a:t>
          </a:r>
          <a:r>
            <a:rPr lang="en-US" sz="2000" dirty="0"/>
            <a:t>:</a:t>
          </a:r>
        </a:p>
      </dgm:t>
    </dgm:pt>
    <dgm:pt modelId="{8F5AEC03-E75C-4C43-91CC-0A54F2F2DD8B}" type="parTrans" cxnId="{157E9DCA-F8C2-2240-AF95-850A02C2F0A8}">
      <dgm:prSet/>
      <dgm:spPr/>
      <dgm:t>
        <a:bodyPr/>
        <a:lstStyle/>
        <a:p>
          <a:endParaRPr lang="en-US"/>
        </a:p>
      </dgm:t>
    </dgm:pt>
    <dgm:pt modelId="{99CEA727-2115-C140-8D1A-8487D9536288}" type="sibTrans" cxnId="{157E9DCA-F8C2-2240-AF95-850A02C2F0A8}">
      <dgm:prSet/>
      <dgm:spPr/>
      <dgm:t>
        <a:bodyPr/>
        <a:lstStyle/>
        <a:p>
          <a:endParaRPr lang="en-US"/>
        </a:p>
      </dgm:t>
    </dgm:pt>
    <dgm:pt modelId="{C2A1267A-1EF7-F642-9011-9B7F313FBB17}">
      <dgm:prSet phldrT="[Text]"/>
      <dgm:spPr/>
      <dgm:t>
        <a:bodyPr/>
        <a:lstStyle/>
        <a:p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Hipótesi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diagnóstica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no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estandarizada</a:t>
          </a:r>
          <a:endParaRPr lang="en-US" dirty="0">
            <a:solidFill>
              <a:schemeClr val="accent6">
                <a:lumMod val="75000"/>
              </a:schemeClr>
            </a:solidFill>
          </a:endParaRPr>
        </a:p>
      </dgm:t>
    </dgm:pt>
    <dgm:pt modelId="{BEF1AA04-2380-2744-A789-490B209C7125}" type="parTrans" cxnId="{46865A14-4AC4-AA43-B45A-53BE6283A5B7}">
      <dgm:prSet/>
      <dgm:spPr/>
      <dgm:t>
        <a:bodyPr/>
        <a:lstStyle/>
        <a:p>
          <a:endParaRPr lang="en-US"/>
        </a:p>
      </dgm:t>
    </dgm:pt>
    <dgm:pt modelId="{DEEB1240-DED6-554D-A715-3B16254CAC19}" type="sibTrans" cxnId="{46865A14-4AC4-AA43-B45A-53BE6283A5B7}">
      <dgm:prSet/>
      <dgm:spPr/>
      <dgm:t>
        <a:bodyPr/>
        <a:lstStyle/>
        <a:p>
          <a:endParaRPr lang="en-US"/>
        </a:p>
      </dgm:t>
    </dgm:pt>
    <dgm:pt modelId="{0CF41230-ACD4-9A4C-B180-D5C71F2CE90E}">
      <dgm:prSet phldrT="[Text]"/>
      <dgm:spPr/>
      <dgm:t>
        <a:bodyPr/>
        <a:lstStyle/>
        <a:p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Antecedente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clínico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no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estandarizado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ni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obligatorios</a:t>
          </a:r>
          <a:endParaRPr lang="en-US" dirty="0">
            <a:solidFill>
              <a:schemeClr val="accent6">
                <a:lumMod val="75000"/>
              </a:schemeClr>
            </a:solidFill>
          </a:endParaRPr>
        </a:p>
      </dgm:t>
    </dgm:pt>
    <dgm:pt modelId="{663CB8A4-4137-974D-AE4E-DB9AAC0496F9}" type="parTrans" cxnId="{E7236B1B-3209-0748-92A2-C74E687059DB}">
      <dgm:prSet/>
      <dgm:spPr/>
      <dgm:t>
        <a:bodyPr/>
        <a:lstStyle/>
        <a:p>
          <a:endParaRPr lang="en-US"/>
        </a:p>
      </dgm:t>
    </dgm:pt>
    <dgm:pt modelId="{02581561-2605-F145-A726-91DC7F687551}" type="sibTrans" cxnId="{E7236B1B-3209-0748-92A2-C74E687059DB}">
      <dgm:prSet/>
      <dgm:spPr/>
      <dgm:t>
        <a:bodyPr/>
        <a:lstStyle/>
        <a:p>
          <a:endParaRPr lang="en-US"/>
        </a:p>
      </dgm:t>
    </dgm:pt>
    <dgm:pt modelId="{68FB6AA4-2A1C-E641-A908-719F2F55D028}">
      <dgm:prSet phldrT="[Text]"/>
      <dgm:spPr/>
      <dgm:t>
        <a:bodyPr/>
        <a:lstStyle/>
        <a:p>
          <a:r>
            <a:rPr lang="en-US" dirty="0" err="1"/>
            <a:t>Procesos</a:t>
          </a:r>
          <a:r>
            <a:rPr lang="en-US" dirty="0"/>
            <a:t> de </a:t>
          </a:r>
          <a:r>
            <a:rPr lang="en-US" dirty="0" err="1"/>
            <a:t>Producción</a:t>
          </a:r>
          <a:r>
            <a:rPr lang="en-US" dirty="0"/>
            <a:t> de </a:t>
          </a:r>
          <a:r>
            <a:rPr lang="en-US" dirty="0" err="1"/>
            <a:t>Información</a:t>
          </a:r>
          <a:r>
            <a:rPr lang="en-US" dirty="0"/>
            <a:t>:</a:t>
          </a:r>
        </a:p>
      </dgm:t>
    </dgm:pt>
    <dgm:pt modelId="{31022168-5E92-3A47-8FB3-D96EB39035A2}" type="parTrans" cxnId="{590B1472-3CC4-6E40-84A9-C29B964956DC}">
      <dgm:prSet/>
      <dgm:spPr/>
      <dgm:t>
        <a:bodyPr/>
        <a:lstStyle/>
        <a:p>
          <a:endParaRPr lang="en-US"/>
        </a:p>
      </dgm:t>
    </dgm:pt>
    <dgm:pt modelId="{26DC3699-A7DD-D844-A808-82073ABE394D}" type="sibTrans" cxnId="{590B1472-3CC4-6E40-84A9-C29B964956DC}">
      <dgm:prSet/>
      <dgm:spPr/>
      <dgm:t>
        <a:bodyPr/>
        <a:lstStyle/>
        <a:p>
          <a:endParaRPr lang="en-US"/>
        </a:p>
      </dgm:t>
    </dgm:pt>
    <dgm:pt modelId="{ABDE7FB7-7BB5-3D4B-A70B-7D14725E6A5E}">
      <dgm:prSet phldrT="[Text]" custT="1"/>
      <dgm:spPr/>
      <dgm:t>
        <a:bodyPr/>
        <a:lstStyle/>
        <a:p>
          <a:r>
            <a:rPr lang="en-US" sz="1600" dirty="0" err="1">
              <a:solidFill>
                <a:schemeClr val="accent6">
                  <a:lumMod val="75000"/>
                </a:schemeClr>
              </a:solidFill>
            </a:rPr>
            <a:t>Validación</a:t>
          </a:r>
          <a:r>
            <a:rPr lang="en-US" sz="1600" dirty="0">
              <a:solidFill>
                <a:schemeClr val="accent6">
                  <a:lumMod val="75000"/>
                </a:schemeClr>
              </a:solidFill>
            </a:rPr>
            <a:t> no </a:t>
          </a:r>
          <a:r>
            <a:rPr lang="en-US" sz="1600" dirty="0" err="1">
              <a:solidFill>
                <a:schemeClr val="accent6">
                  <a:lumMod val="75000"/>
                </a:schemeClr>
              </a:solidFill>
            </a:rPr>
            <a:t>formalizada</a:t>
          </a:r>
          <a:r>
            <a:rPr lang="en-US" sz="1600" dirty="0">
              <a:solidFill>
                <a:schemeClr val="accent6">
                  <a:lumMod val="75000"/>
                </a:schemeClr>
              </a:solidFill>
            </a:rPr>
            <a:t>, </a:t>
          </a:r>
          <a:r>
            <a:rPr lang="en-US" sz="1600" dirty="0" err="1">
              <a:solidFill>
                <a:schemeClr val="accent6">
                  <a:lumMod val="75000"/>
                </a:schemeClr>
              </a:solidFill>
            </a:rPr>
            <a:t>ni</a:t>
          </a:r>
          <a:r>
            <a:rPr lang="en-US" sz="16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dirty="0" err="1">
              <a:solidFill>
                <a:schemeClr val="accent6">
                  <a:lumMod val="75000"/>
                </a:schemeClr>
              </a:solidFill>
            </a:rPr>
            <a:t>permanente</a:t>
          </a:r>
          <a:r>
            <a:rPr lang="en-US" sz="1600" dirty="0">
              <a:solidFill>
                <a:schemeClr val="accent6">
                  <a:lumMod val="75000"/>
                </a:schemeClr>
              </a:solidFill>
            </a:rPr>
            <a:t>, </a:t>
          </a:r>
          <a:r>
            <a:rPr lang="en-US" sz="1600" dirty="0" err="1">
              <a:solidFill>
                <a:schemeClr val="accent6">
                  <a:lumMod val="75000"/>
                </a:schemeClr>
              </a:solidFill>
            </a:rPr>
            <a:t>ni</a:t>
          </a:r>
          <a:r>
            <a:rPr lang="en-US" sz="16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dirty="0" err="1">
              <a:solidFill>
                <a:schemeClr val="accent6">
                  <a:lumMod val="75000"/>
                </a:schemeClr>
              </a:solidFill>
            </a:rPr>
            <a:t>automatizada</a:t>
          </a:r>
          <a:endParaRPr lang="en-US" sz="1600" dirty="0">
            <a:solidFill>
              <a:schemeClr val="accent6">
                <a:lumMod val="75000"/>
              </a:schemeClr>
            </a:solidFill>
          </a:endParaRPr>
        </a:p>
      </dgm:t>
    </dgm:pt>
    <dgm:pt modelId="{841A459A-5D86-574D-98A1-E49781C51050}" type="parTrans" cxnId="{0FB25609-2D29-9B47-A6B9-8D0CB081A069}">
      <dgm:prSet/>
      <dgm:spPr/>
      <dgm:t>
        <a:bodyPr/>
        <a:lstStyle/>
        <a:p>
          <a:endParaRPr lang="en-US"/>
        </a:p>
      </dgm:t>
    </dgm:pt>
    <dgm:pt modelId="{34AF6EA7-401F-9540-B49B-92B9660F53C7}" type="sibTrans" cxnId="{0FB25609-2D29-9B47-A6B9-8D0CB081A069}">
      <dgm:prSet/>
      <dgm:spPr/>
      <dgm:t>
        <a:bodyPr/>
        <a:lstStyle/>
        <a:p>
          <a:endParaRPr lang="en-US"/>
        </a:p>
      </dgm:t>
    </dgm:pt>
    <dgm:pt modelId="{76F5E492-17F3-9F45-B3E0-CC80F5C5D1D4}">
      <dgm:prSet phldrT="[Text]"/>
      <dgm:spPr/>
      <dgm:t>
        <a:bodyPr/>
        <a:lstStyle/>
        <a:p>
          <a:r>
            <a:rPr lang="en-US" dirty="0">
              <a:solidFill>
                <a:schemeClr val="accent6">
                  <a:lumMod val="75000"/>
                </a:schemeClr>
              </a:solidFill>
            </a:rPr>
            <a:t>Alta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probabilidad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duplicación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datos</a:t>
          </a:r>
          <a:endParaRPr lang="en-US" dirty="0">
            <a:solidFill>
              <a:schemeClr val="accent6">
                <a:lumMod val="75000"/>
              </a:schemeClr>
            </a:solidFill>
          </a:endParaRPr>
        </a:p>
      </dgm:t>
    </dgm:pt>
    <dgm:pt modelId="{1AAE1E88-8E59-D74B-9DFB-E894221BBC74}" type="parTrans" cxnId="{5295CDB3-4C9B-7145-8219-CEA2D66B96DE}">
      <dgm:prSet/>
      <dgm:spPr/>
      <dgm:t>
        <a:bodyPr/>
        <a:lstStyle/>
        <a:p>
          <a:endParaRPr lang="en-US"/>
        </a:p>
      </dgm:t>
    </dgm:pt>
    <dgm:pt modelId="{C523AFA3-36FF-364C-9955-6CFC30EA7B5D}" type="sibTrans" cxnId="{5295CDB3-4C9B-7145-8219-CEA2D66B96DE}">
      <dgm:prSet/>
      <dgm:spPr/>
      <dgm:t>
        <a:bodyPr/>
        <a:lstStyle/>
        <a:p>
          <a:endParaRPr lang="en-US"/>
        </a:p>
      </dgm:t>
    </dgm:pt>
    <dgm:pt modelId="{FF8CA0F1-BC0A-C948-AE82-EAD37F3DF1AF}">
      <dgm:prSet/>
      <dgm:spPr/>
      <dgm:t>
        <a:bodyPr/>
        <a:lstStyle/>
        <a:p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Carga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dato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sin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límite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temporales</a:t>
          </a:r>
          <a:endParaRPr lang="en-US" dirty="0">
            <a:solidFill>
              <a:schemeClr val="accent6">
                <a:lumMod val="75000"/>
              </a:schemeClr>
            </a:solidFill>
          </a:endParaRPr>
        </a:p>
      </dgm:t>
    </dgm:pt>
    <dgm:pt modelId="{7DFAC5F8-8B93-844A-AA6E-BFA23FB5D27D}" type="parTrans" cxnId="{48ECA511-8392-F345-8D8E-9B17D4F32B9B}">
      <dgm:prSet/>
      <dgm:spPr/>
      <dgm:t>
        <a:bodyPr/>
        <a:lstStyle/>
        <a:p>
          <a:endParaRPr lang="en-US"/>
        </a:p>
      </dgm:t>
    </dgm:pt>
    <dgm:pt modelId="{C6153E50-17F2-8A45-B9BE-6125CAE269FB}" type="sibTrans" cxnId="{48ECA511-8392-F345-8D8E-9B17D4F32B9B}">
      <dgm:prSet/>
      <dgm:spPr/>
      <dgm:t>
        <a:bodyPr/>
        <a:lstStyle/>
        <a:p>
          <a:endParaRPr lang="en-US"/>
        </a:p>
      </dgm:t>
    </dgm:pt>
    <dgm:pt modelId="{4DEFC02A-0438-444D-B27C-609BF7D6E94E}">
      <dgm:prSet/>
      <dgm:spPr/>
      <dgm:t>
        <a:bodyPr/>
        <a:lstStyle/>
        <a:p>
          <a:r>
            <a:rPr lang="en-US" dirty="0">
              <a:solidFill>
                <a:schemeClr val="accent6">
                  <a:lumMod val="75000"/>
                </a:schemeClr>
              </a:solidFill>
            </a:rPr>
            <a:t>Calidad de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dato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 (sin </a:t>
          </a:r>
          <a:r>
            <a:rPr lang="en-US" dirty="0" err="1">
              <a:solidFill>
                <a:schemeClr val="accent6">
                  <a:lumMod val="75000"/>
                </a:schemeClr>
              </a:solidFill>
            </a:rPr>
            <a:t>validadores</a:t>
          </a:r>
          <a:r>
            <a:rPr lang="en-US" dirty="0">
              <a:solidFill>
                <a:schemeClr val="accent6">
                  <a:lumMod val="75000"/>
                </a:schemeClr>
              </a:solidFill>
            </a:rPr>
            <a:t>)</a:t>
          </a:r>
        </a:p>
      </dgm:t>
    </dgm:pt>
    <dgm:pt modelId="{93AEF2AE-5EE7-F149-A3F2-4E93F25153D1}" type="parTrans" cxnId="{89CD0ACE-446E-444A-93D6-E2B4E8E3AD9F}">
      <dgm:prSet/>
      <dgm:spPr/>
      <dgm:t>
        <a:bodyPr/>
        <a:lstStyle/>
        <a:p>
          <a:endParaRPr lang="en-US"/>
        </a:p>
      </dgm:t>
    </dgm:pt>
    <dgm:pt modelId="{DCF39F59-AAE5-F845-BA2A-0D8CE84B921E}" type="sibTrans" cxnId="{89CD0ACE-446E-444A-93D6-E2B4E8E3AD9F}">
      <dgm:prSet/>
      <dgm:spPr/>
      <dgm:t>
        <a:bodyPr/>
        <a:lstStyle/>
        <a:p>
          <a:endParaRPr lang="en-US"/>
        </a:p>
      </dgm:t>
    </dgm:pt>
    <dgm:pt modelId="{5BFE4374-8BDE-C648-8DEE-D67B3B45D087}" type="pres">
      <dgm:prSet presAssocID="{0B70C526-E9B8-384C-9A12-141CA861A7D1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9ADC534D-2C1F-FA47-BEBD-EB0A6ABBFB46}" type="pres">
      <dgm:prSet presAssocID="{72AA8C9F-C598-0B44-8122-FB7F1A7BBDF8}" presName="horFlow" presStyleCnt="0"/>
      <dgm:spPr/>
    </dgm:pt>
    <dgm:pt modelId="{169196CF-42EE-A745-8A67-5E655E1770E7}" type="pres">
      <dgm:prSet presAssocID="{72AA8C9F-C598-0B44-8122-FB7F1A7BBDF8}" presName="bigChev" presStyleLbl="node1" presStyleIdx="0" presStyleCnt="3"/>
      <dgm:spPr/>
      <dgm:t>
        <a:bodyPr/>
        <a:lstStyle/>
        <a:p>
          <a:endParaRPr lang="es-ES"/>
        </a:p>
      </dgm:t>
    </dgm:pt>
    <dgm:pt modelId="{BF9B05FA-BCA4-FE4E-9652-04E0991C5C5C}" type="pres">
      <dgm:prSet presAssocID="{EADA1985-1014-D34A-B41A-9D4EB4D70A29}" presName="parTrans" presStyleCnt="0"/>
      <dgm:spPr/>
    </dgm:pt>
    <dgm:pt modelId="{8F650845-BAA8-FC41-AD51-758CB6243112}" type="pres">
      <dgm:prSet presAssocID="{F00AC0CA-8F88-AA42-96B2-3CF1D08A07A4}" presName="node" presStyleLbl="alignAccFollowNode1" presStyleIdx="0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64D1B13-A60F-7E41-9814-B58335618A24}" type="pres">
      <dgm:prSet presAssocID="{548E9BFD-4CDE-AD4B-A6DB-33C0317FFC6A}" presName="sibTrans" presStyleCnt="0"/>
      <dgm:spPr/>
    </dgm:pt>
    <dgm:pt modelId="{A78AF334-B931-C143-8C5F-33CA410BB629}" type="pres">
      <dgm:prSet presAssocID="{C5C69062-BFAF-B74D-840F-2710E6651517}" presName="node" presStyleLbl="alignAccFollowNode1" presStyleIdx="1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AA47DE0-8D47-9B42-8382-0ABC0CDC1D14}" type="pres">
      <dgm:prSet presAssocID="{72AA8C9F-C598-0B44-8122-FB7F1A7BBDF8}" presName="vSp" presStyleCnt="0"/>
      <dgm:spPr/>
    </dgm:pt>
    <dgm:pt modelId="{43CDB019-6F42-7E48-8A89-568DEBBEC39A}" type="pres">
      <dgm:prSet presAssocID="{66DD4312-892F-ED4E-9993-C4B604B9A646}" presName="horFlow" presStyleCnt="0"/>
      <dgm:spPr/>
    </dgm:pt>
    <dgm:pt modelId="{3F46F74B-D796-EC4E-AF21-AEE442DFD98A}" type="pres">
      <dgm:prSet presAssocID="{66DD4312-892F-ED4E-9993-C4B604B9A646}" presName="bigChev" presStyleLbl="node1" presStyleIdx="1" presStyleCnt="3"/>
      <dgm:spPr/>
      <dgm:t>
        <a:bodyPr/>
        <a:lstStyle/>
        <a:p>
          <a:endParaRPr lang="es-ES"/>
        </a:p>
      </dgm:t>
    </dgm:pt>
    <dgm:pt modelId="{7CCD4F5D-C707-5141-958A-5FC466484A4D}" type="pres">
      <dgm:prSet presAssocID="{BEF1AA04-2380-2744-A789-490B209C7125}" presName="parTrans" presStyleCnt="0"/>
      <dgm:spPr/>
    </dgm:pt>
    <dgm:pt modelId="{6E4F51D2-892F-C84E-8E92-9878F4CC1470}" type="pres">
      <dgm:prSet presAssocID="{C2A1267A-1EF7-F642-9011-9B7F313FBB17}" presName="node" presStyleLbl="alignAccFollowNode1" presStyleIdx="2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9B274F7-2E39-1E4F-A7C7-F98A805D4316}" type="pres">
      <dgm:prSet presAssocID="{DEEB1240-DED6-554D-A715-3B16254CAC19}" presName="sibTrans" presStyleCnt="0"/>
      <dgm:spPr/>
    </dgm:pt>
    <dgm:pt modelId="{9CA22DF2-C052-EC4F-8FA8-643DF30AF01E}" type="pres">
      <dgm:prSet presAssocID="{0CF41230-ACD4-9A4C-B180-D5C71F2CE90E}" presName="node" presStyleLbl="alignAccFollowNode1" presStyleIdx="3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2909807-8FE4-6B41-BB65-0FE00ADDC547}" type="pres">
      <dgm:prSet presAssocID="{02581561-2605-F145-A726-91DC7F687551}" presName="sibTrans" presStyleCnt="0"/>
      <dgm:spPr/>
    </dgm:pt>
    <dgm:pt modelId="{9BED7C7E-2855-8F41-AD74-F596BA087FF8}" type="pres">
      <dgm:prSet presAssocID="{FF8CA0F1-BC0A-C948-AE82-EAD37F3DF1AF}" presName="node" presStyleLbl="alignAccFollowNode1" presStyleIdx="4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7BDD2C4-C495-EE4C-A83E-D870F9238A67}" type="pres">
      <dgm:prSet presAssocID="{66DD4312-892F-ED4E-9993-C4B604B9A646}" presName="vSp" presStyleCnt="0"/>
      <dgm:spPr/>
    </dgm:pt>
    <dgm:pt modelId="{D6541F47-3F0F-654E-B25E-45590251654A}" type="pres">
      <dgm:prSet presAssocID="{68FB6AA4-2A1C-E641-A908-719F2F55D028}" presName="horFlow" presStyleCnt="0"/>
      <dgm:spPr/>
    </dgm:pt>
    <dgm:pt modelId="{92E7A3C9-D98B-964F-BA5A-4B25E2CD9DD7}" type="pres">
      <dgm:prSet presAssocID="{68FB6AA4-2A1C-E641-A908-719F2F55D028}" presName="bigChev" presStyleLbl="node1" presStyleIdx="2" presStyleCnt="3"/>
      <dgm:spPr/>
      <dgm:t>
        <a:bodyPr/>
        <a:lstStyle/>
        <a:p>
          <a:endParaRPr lang="es-ES"/>
        </a:p>
      </dgm:t>
    </dgm:pt>
    <dgm:pt modelId="{1FD2944F-3AE1-CE4E-94A5-1E441F87CF55}" type="pres">
      <dgm:prSet presAssocID="{841A459A-5D86-574D-98A1-E49781C51050}" presName="parTrans" presStyleCnt="0"/>
      <dgm:spPr/>
    </dgm:pt>
    <dgm:pt modelId="{DF6B9A05-D735-F14C-AC78-29AC6DBB4708}" type="pres">
      <dgm:prSet presAssocID="{ABDE7FB7-7BB5-3D4B-A70B-7D14725E6A5E}" presName="node" presStyleLbl="alignAccFollowNode1" presStyleIdx="5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323FEB6-7E9B-E447-A045-7219275965E0}" type="pres">
      <dgm:prSet presAssocID="{34AF6EA7-401F-9540-B49B-92B9660F53C7}" presName="sibTrans" presStyleCnt="0"/>
      <dgm:spPr/>
    </dgm:pt>
    <dgm:pt modelId="{E3EE2404-F84B-FA40-9DE2-717660547475}" type="pres">
      <dgm:prSet presAssocID="{76F5E492-17F3-9F45-B3E0-CC80F5C5D1D4}" presName="node" presStyleLbl="alignAccFollowNode1" presStyleIdx="6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83AFA3E-28A0-BF46-BCCA-E50C0411019D}" type="pres">
      <dgm:prSet presAssocID="{C523AFA3-36FF-364C-9955-6CFC30EA7B5D}" presName="sibTrans" presStyleCnt="0"/>
      <dgm:spPr/>
    </dgm:pt>
    <dgm:pt modelId="{D0A7B2F6-787F-884F-986A-42C34A2CEF3A}" type="pres">
      <dgm:prSet presAssocID="{4DEFC02A-0438-444D-B27C-609BF7D6E94E}" presName="node" presStyleLbl="alignAccFollowNode1" presStyleIdx="7" presStyleCnt="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C1C707C3-903F-FB46-A82F-DD251E9644CD}" type="presOf" srcId="{76F5E492-17F3-9F45-B3E0-CC80F5C5D1D4}" destId="{E3EE2404-F84B-FA40-9DE2-717660547475}" srcOrd="0" destOrd="0" presId="urn:microsoft.com/office/officeart/2005/8/layout/lProcess3"/>
    <dgm:cxn modelId="{A6671186-57CC-0445-BBC5-2CB18539C1AE}" type="presOf" srcId="{68FB6AA4-2A1C-E641-A908-719F2F55D028}" destId="{92E7A3C9-D98B-964F-BA5A-4B25E2CD9DD7}" srcOrd="0" destOrd="0" presId="urn:microsoft.com/office/officeart/2005/8/layout/lProcess3"/>
    <dgm:cxn modelId="{3893D981-AAB8-DA46-99B4-28B78260F517}" srcId="{72AA8C9F-C598-0B44-8122-FB7F1A7BBDF8}" destId="{F00AC0CA-8F88-AA42-96B2-3CF1D08A07A4}" srcOrd="0" destOrd="0" parTransId="{EADA1985-1014-D34A-B41A-9D4EB4D70A29}" sibTransId="{548E9BFD-4CDE-AD4B-A6DB-33C0317FFC6A}"/>
    <dgm:cxn modelId="{DC70B7D1-A188-D64B-8FC3-83DCBE2270BC}" type="presOf" srcId="{FF8CA0F1-BC0A-C948-AE82-EAD37F3DF1AF}" destId="{9BED7C7E-2855-8F41-AD74-F596BA087FF8}" srcOrd="0" destOrd="0" presId="urn:microsoft.com/office/officeart/2005/8/layout/lProcess3"/>
    <dgm:cxn modelId="{1392CAE3-6C4A-2C47-B3EB-8F8A2437827C}" type="presOf" srcId="{0CF41230-ACD4-9A4C-B180-D5C71F2CE90E}" destId="{9CA22DF2-C052-EC4F-8FA8-643DF30AF01E}" srcOrd="0" destOrd="0" presId="urn:microsoft.com/office/officeart/2005/8/layout/lProcess3"/>
    <dgm:cxn modelId="{057C68D1-2ED7-1B49-AC1C-C209EE678B0A}" srcId="{0B70C526-E9B8-384C-9A12-141CA861A7D1}" destId="{72AA8C9F-C598-0B44-8122-FB7F1A7BBDF8}" srcOrd="0" destOrd="0" parTransId="{BF486E3A-711D-2A42-AE19-E17DC0728117}" sibTransId="{4A99C272-14E2-C34A-9928-CC07CCDB6293}"/>
    <dgm:cxn modelId="{2B7F1D0E-09D5-C44C-B304-9169D359B05B}" type="presOf" srcId="{66DD4312-892F-ED4E-9993-C4B604B9A646}" destId="{3F46F74B-D796-EC4E-AF21-AEE442DFD98A}" srcOrd="0" destOrd="0" presId="urn:microsoft.com/office/officeart/2005/8/layout/lProcess3"/>
    <dgm:cxn modelId="{862B0E70-5665-F446-8853-7B80726FE5B6}" type="presOf" srcId="{F00AC0CA-8F88-AA42-96B2-3CF1D08A07A4}" destId="{8F650845-BAA8-FC41-AD51-758CB6243112}" srcOrd="0" destOrd="0" presId="urn:microsoft.com/office/officeart/2005/8/layout/lProcess3"/>
    <dgm:cxn modelId="{E7236B1B-3209-0748-92A2-C74E687059DB}" srcId="{66DD4312-892F-ED4E-9993-C4B604B9A646}" destId="{0CF41230-ACD4-9A4C-B180-D5C71F2CE90E}" srcOrd="1" destOrd="0" parTransId="{663CB8A4-4137-974D-AE4E-DB9AAC0496F9}" sibTransId="{02581561-2605-F145-A726-91DC7F687551}"/>
    <dgm:cxn modelId="{157E9DCA-F8C2-2240-AF95-850A02C2F0A8}" srcId="{0B70C526-E9B8-384C-9A12-141CA861A7D1}" destId="{66DD4312-892F-ED4E-9993-C4B604B9A646}" srcOrd="1" destOrd="0" parTransId="{8F5AEC03-E75C-4C43-91CC-0A54F2F2DD8B}" sibTransId="{99CEA727-2115-C140-8D1A-8487D9536288}"/>
    <dgm:cxn modelId="{C4720712-069C-8748-B171-328073CE5B0F}" type="presOf" srcId="{ABDE7FB7-7BB5-3D4B-A70B-7D14725E6A5E}" destId="{DF6B9A05-D735-F14C-AC78-29AC6DBB4708}" srcOrd="0" destOrd="0" presId="urn:microsoft.com/office/officeart/2005/8/layout/lProcess3"/>
    <dgm:cxn modelId="{C609B7B2-ACC9-984F-97E6-091654562E8C}" type="presOf" srcId="{C5C69062-BFAF-B74D-840F-2710E6651517}" destId="{A78AF334-B931-C143-8C5F-33CA410BB629}" srcOrd="0" destOrd="0" presId="urn:microsoft.com/office/officeart/2005/8/layout/lProcess3"/>
    <dgm:cxn modelId="{89CD0ACE-446E-444A-93D6-E2B4E8E3AD9F}" srcId="{68FB6AA4-2A1C-E641-A908-719F2F55D028}" destId="{4DEFC02A-0438-444D-B27C-609BF7D6E94E}" srcOrd="2" destOrd="0" parTransId="{93AEF2AE-5EE7-F149-A3F2-4E93F25153D1}" sibTransId="{DCF39F59-AAE5-F845-BA2A-0D8CE84B921E}"/>
    <dgm:cxn modelId="{F3AFC55F-DFA9-C542-82F6-D01BB367BA40}" type="presOf" srcId="{0B70C526-E9B8-384C-9A12-141CA861A7D1}" destId="{5BFE4374-8BDE-C648-8DEE-D67B3B45D087}" srcOrd="0" destOrd="0" presId="urn:microsoft.com/office/officeart/2005/8/layout/lProcess3"/>
    <dgm:cxn modelId="{CE234784-25E6-8744-A2E7-771443212863}" srcId="{72AA8C9F-C598-0B44-8122-FB7F1A7BBDF8}" destId="{C5C69062-BFAF-B74D-840F-2710E6651517}" srcOrd="1" destOrd="0" parTransId="{9ADDB603-5EB9-FB4F-83BC-13443E956094}" sibTransId="{DB52D9D4-A6BF-DB44-AB50-F4FDC5F0A1CB}"/>
    <dgm:cxn modelId="{46865A14-4AC4-AA43-B45A-53BE6283A5B7}" srcId="{66DD4312-892F-ED4E-9993-C4B604B9A646}" destId="{C2A1267A-1EF7-F642-9011-9B7F313FBB17}" srcOrd="0" destOrd="0" parTransId="{BEF1AA04-2380-2744-A789-490B209C7125}" sibTransId="{DEEB1240-DED6-554D-A715-3B16254CAC19}"/>
    <dgm:cxn modelId="{332D7139-41EF-AB4F-B55B-F59FD82C387A}" type="presOf" srcId="{C2A1267A-1EF7-F642-9011-9B7F313FBB17}" destId="{6E4F51D2-892F-C84E-8E92-9878F4CC1470}" srcOrd="0" destOrd="0" presId="urn:microsoft.com/office/officeart/2005/8/layout/lProcess3"/>
    <dgm:cxn modelId="{590B1472-3CC4-6E40-84A9-C29B964956DC}" srcId="{0B70C526-E9B8-384C-9A12-141CA861A7D1}" destId="{68FB6AA4-2A1C-E641-A908-719F2F55D028}" srcOrd="2" destOrd="0" parTransId="{31022168-5E92-3A47-8FB3-D96EB39035A2}" sibTransId="{26DC3699-A7DD-D844-A808-82073ABE394D}"/>
    <dgm:cxn modelId="{5295CDB3-4C9B-7145-8219-CEA2D66B96DE}" srcId="{68FB6AA4-2A1C-E641-A908-719F2F55D028}" destId="{76F5E492-17F3-9F45-B3E0-CC80F5C5D1D4}" srcOrd="1" destOrd="0" parTransId="{1AAE1E88-8E59-D74B-9DFB-E894221BBC74}" sibTransId="{C523AFA3-36FF-364C-9955-6CFC30EA7B5D}"/>
    <dgm:cxn modelId="{48ECA511-8392-F345-8D8E-9B17D4F32B9B}" srcId="{66DD4312-892F-ED4E-9993-C4B604B9A646}" destId="{FF8CA0F1-BC0A-C948-AE82-EAD37F3DF1AF}" srcOrd="2" destOrd="0" parTransId="{7DFAC5F8-8B93-844A-AA6E-BFA23FB5D27D}" sibTransId="{C6153E50-17F2-8A45-B9BE-6125CAE269FB}"/>
    <dgm:cxn modelId="{871CBF83-56CF-374E-A01B-F1CB66EECB61}" type="presOf" srcId="{4DEFC02A-0438-444D-B27C-609BF7D6E94E}" destId="{D0A7B2F6-787F-884F-986A-42C34A2CEF3A}" srcOrd="0" destOrd="0" presId="urn:microsoft.com/office/officeart/2005/8/layout/lProcess3"/>
    <dgm:cxn modelId="{0FB25609-2D29-9B47-A6B9-8D0CB081A069}" srcId="{68FB6AA4-2A1C-E641-A908-719F2F55D028}" destId="{ABDE7FB7-7BB5-3D4B-A70B-7D14725E6A5E}" srcOrd="0" destOrd="0" parTransId="{841A459A-5D86-574D-98A1-E49781C51050}" sibTransId="{34AF6EA7-401F-9540-B49B-92B9660F53C7}"/>
    <dgm:cxn modelId="{97AAEF32-4569-4546-BC56-C79B354F6D83}" type="presOf" srcId="{72AA8C9F-C598-0B44-8122-FB7F1A7BBDF8}" destId="{169196CF-42EE-A745-8A67-5E655E1770E7}" srcOrd="0" destOrd="0" presId="urn:microsoft.com/office/officeart/2005/8/layout/lProcess3"/>
    <dgm:cxn modelId="{D0E27E0B-216F-224F-B9CC-9B30952E21DE}" type="presParOf" srcId="{5BFE4374-8BDE-C648-8DEE-D67B3B45D087}" destId="{9ADC534D-2C1F-FA47-BEBD-EB0A6ABBFB46}" srcOrd="0" destOrd="0" presId="urn:microsoft.com/office/officeart/2005/8/layout/lProcess3"/>
    <dgm:cxn modelId="{1DFD98DA-196B-A146-9B4C-29F74AF19006}" type="presParOf" srcId="{9ADC534D-2C1F-FA47-BEBD-EB0A6ABBFB46}" destId="{169196CF-42EE-A745-8A67-5E655E1770E7}" srcOrd="0" destOrd="0" presId="urn:microsoft.com/office/officeart/2005/8/layout/lProcess3"/>
    <dgm:cxn modelId="{0339298E-6711-A04D-809A-73DA0DF329C1}" type="presParOf" srcId="{9ADC534D-2C1F-FA47-BEBD-EB0A6ABBFB46}" destId="{BF9B05FA-BCA4-FE4E-9652-04E0991C5C5C}" srcOrd="1" destOrd="0" presId="urn:microsoft.com/office/officeart/2005/8/layout/lProcess3"/>
    <dgm:cxn modelId="{4EAE5078-CA22-7E44-94D1-45A5A2A7D183}" type="presParOf" srcId="{9ADC534D-2C1F-FA47-BEBD-EB0A6ABBFB46}" destId="{8F650845-BAA8-FC41-AD51-758CB6243112}" srcOrd="2" destOrd="0" presId="urn:microsoft.com/office/officeart/2005/8/layout/lProcess3"/>
    <dgm:cxn modelId="{8EE1B4BE-B51E-A549-B878-1B4163C9D87D}" type="presParOf" srcId="{9ADC534D-2C1F-FA47-BEBD-EB0A6ABBFB46}" destId="{964D1B13-A60F-7E41-9814-B58335618A24}" srcOrd="3" destOrd="0" presId="urn:microsoft.com/office/officeart/2005/8/layout/lProcess3"/>
    <dgm:cxn modelId="{67F96C20-8855-9244-A9E8-32D3C3C5FBFB}" type="presParOf" srcId="{9ADC534D-2C1F-FA47-BEBD-EB0A6ABBFB46}" destId="{A78AF334-B931-C143-8C5F-33CA410BB629}" srcOrd="4" destOrd="0" presId="urn:microsoft.com/office/officeart/2005/8/layout/lProcess3"/>
    <dgm:cxn modelId="{2021E29F-63CF-EF4C-80CE-EB42848E0DD3}" type="presParOf" srcId="{5BFE4374-8BDE-C648-8DEE-D67B3B45D087}" destId="{CAA47DE0-8D47-9B42-8382-0ABC0CDC1D14}" srcOrd="1" destOrd="0" presId="urn:microsoft.com/office/officeart/2005/8/layout/lProcess3"/>
    <dgm:cxn modelId="{A9B9126C-6D2E-D440-904B-639DA296527A}" type="presParOf" srcId="{5BFE4374-8BDE-C648-8DEE-D67B3B45D087}" destId="{43CDB019-6F42-7E48-8A89-568DEBBEC39A}" srcOrd="2" destOrd="0" presId="urn:microsoft.com/office/officeart/2005/8/layout/lProcess3"/>
    <dgm:cxn modelId="{7C9F689D-FA60-DA47-8E25-9CE5036C9B3F}" type="presParOf" srcId="{43CDB019-6F42-7E48-8A89-568DEBBEC39A}" destId="{3F46F74B-D796-EC4E-AF21-AEE442DFD98A}" srcOrd="0" destOrd="0" presId="urn:microsoft.com/office/officeart/2005/8/layout/lProcess3"/>
    <dgm:cxn modelId="{D451B835-E8C6-0143-892B-87C0CC579CC9}" type="presParOf" srcId="{43CDB019-6F42-7E48-8A89-568DEBBEC39A}" destId="{7CCD4F5D-C707-5141-958A-5FC466484A4D}" srcOrd="1" destOrd="0" presId="urn:microsoft.com/office/officeart/2005/8/layout/lProcess3"/>
    <dgm:cxn modelId="{0D19B947-B04D-414C-997D-1345FC4F9C5B}" type="presParOf" srcId="{43CDB019-6F42-7E48-8A89-568DEBBEC39A}" destId="{6E4F51D2-892F-C84E-8E92-9878F4CC1470}" srcOrd="2" destOrd="0" presId="urn:microsoft.com/office/officeart/2005/8/layout/lProcess3"/>
    <dgm:cxn modelId="{35CD0561-ED50-2A42-9C60-9FABC448BE75}" type="presParOf" srcId="{43CDB019-6F42-7E48-8A89-568DEBBEC39A}" destId="{39B274F7-2E39-1E4F-A7C7-F98A805D4316}" srcOrd="3" destOrd="0" presId="urn:microsoft.com/office/officeart/2005/8/layout/lProcess3"/>
    <dgm:cxn modelId="{1D7B52D4-FA8F-AD4C-805C-1B4C4FEAF874}" type="presParOf" srcId="{43CDB019-6F42-7E48-8A89-568DEBBEC39A}" destId="{9CA22DF2-C052-EC4F-8FA8-643DF30AF01E}" srcOrd="4" destOrd="0" presId="urn:microsoft.com/office/officeart/2005/8/layout/lProcess3"/>
    <dgm:cxn modelId="{FA2D1708-E192-9C44-AA2E-35BCD21E563B}" type="presParOf" srcId="{43CDB019-6F42-7E48-8A89-568DEBBEC39A}" destId="{B2909807-8FE4-6B41-BB65-0FE00ADDC547}" srcOrd="5" destOrd="0" presId="urn:microsoft.com/office/officeart/2005/8/layout/lProcess3"/>
    <dgm:cxn modelId="{C5428708-DD3C-7C48-9723-CFB4F7FA9A47}" type="presParOf" srcId="{43CDB019-6F42-7E48-8A89-568DEBBEC39A}" destId="{9BED7C7E-2855-8F41-AD74-F596BA087FF8}" srcOrd="6" destOrd="0" presId="urn:microsoft.com/office/officeart/2005/8/layout/lProcess3"/>
    <dgm:cxn modelId="{18303865-5373-A342-91AC-3BFEFC9AFE0C}" type="presParOf" srcId="{5BFE4374-8BDE-C648-8DEE-D67B3B45D087}" destId="{07BDD2C4-C495-EE4C-A83E-D870F9238A67}" srcOrd="3" destOrd="0" presId="urn:microsoft.com/office/officeart/2005/8/layout/lProcess3"/>
    <dgm:cxn modelId="{DB985A57-4D5E-914A-A84F-BD7AE6A4DE4E}" type="presParOf" srcId="{5BFE4374-8BDE-C648-8DEE-D67B3B45D087}" destId="{D6541F47-3F0F-654E-B25E-45590251654A}" srcOrd="4" destOrd="0" presId="urn:microsoft.com/office/officeart/2005/8/layout/lProcess3"/>
    <dgm:cxn modelId="{377D4C3B-D912-E145-959E-F471B711CC94}" type="presParOf" srcId="{D6541F47-3F0F-654E-B25E-45590251654A}" destId="{92E7A3C9-D98B-964F-BA5A-4B25E2CD9DD7}" srcOrd="0" destOrd="0" presId="urn:microsoft.com/office/officeart/2005/8/layout/lProcess3"/>
    <dgm:cxn modelId="{96A9163C-9939-1941-A494-D2E14EE59767}" type="presParOf" srcId="{D6541F47-3F0F-654E-B25E-45590251654A}" destId="{1FD2944F-3AE1-CE4E-94A5-1E441F87CF55}" srcOrd="1" destOrd="0" presId="urn:microsoft.com/office/officeart/2005/8/layout/lProcess3"/>
    <dgm:cxn modelId="{97350226-2829-7F47-A85B-FDC9ED3B88CA}" type="presParOf" srcId="{D6541F47-3F0F-654E-B25E-45590251654A}" destId="{DF6B9A05-D735-F14C-AC78-29AC6DBB4708}" srcOrd="2" destOrd="0" presId="urn:microsoft.com/office/officeart/2005/8/layout/lProcess3"/>
    <dgm:cxn modelId="{90A1A6B8-D396-CE46-B236-6E776E721C18}" type="presParOf" srcId="{D6541F47-3F0F-654E-B25E-45590251654A}" destId="{4323FEB6-7E9B-E447-A045-7219275965E0}" srcOrd="3" destOrd="0" presId="urn:microsoft.com/office/officeart/2005/8/layout/lProcess3"/>
    <dgm:cxn modelId="{9885DE01-DA80-A645-8094-8DA80E88C7E7}" type="presParOf" srcId="{D6541F47-3F0F-654E-B25E-45590251654A}" destId="{E3EE2404-F84B-FA40-9DE2-717660547475}" srcOrd="4" destOrd="0" presId="urn:microsoft.com/office/officeart/2005/8/layout/lProcess3"/>
    <dgm:cxn modelId="{5A8BB0CD-BDE5-1F4C-8F93-AAF0BAF0E404}" type="presParOf" srcId="{D6541F47-3F0F-654E-B25E-45590251654A}" destId="{683AFA3E-28A0-BF46-BCCA-E50C0411019D}" srcOrd="5" destOrd="0" presId="urn:microsoft.com/office/officeart/2005/8/layout/lProcess3"/>
    <dgm:cxn modelId="{E9F8BCFE-A575-CE4A-BBD7-B61384B610F1}" type="presParOf" srcId="{D6541F47-3F0F-654E-B25E-45590251654A}" destId="{D0A7B2F6-787F-884F-986A-42C34A2CEF3A}" srcOrd="6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318842-A973-9247-B2E7-A94823153352}" type="doc">
      <dgm:prSet loTypeId="urn:microsoft.com/office/officeart/2005/8/layout/defaul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F86FF48-FBB1-8540-A729-944048FF1154}">
      <dgm:prSet phldrT="[Text]" custT="1"/>
      <dgm:spPr/>
      <dgm:t>
        <a:bodyPr/>
        <a:lstStyle/>
        <a:p>
          <a:r>
            <a:rPr lang="en-US" sz="2800" dirty="0" err="1"/>
            <a:t>Centrado</a:t>
          </a:r>
          <a:r>
            <a:rPr lang="en-US" sz="2800" dirty="0"/>
            <a:t> </a:t>
          </a:r>
          <a:r>
            <a:rPr lang="en-US" sz="2800" dirty="0" err="1"/>
            <a:t>en</a:t>
          </a:r>
          <a:r>
            <a:rPr lang="en-US" sz="2800" dirty="0"/>
            <a:t> </a:t>
          </a:r>
          <a:r>
            <a:rPr lang="en-US" sz="2800" dirty="0" err="1"/>
            <a:t>eventos</a:t>
          </a:r>
          <a:r>
            <a:rPr lang="en-US" sz="2800" dirty="0"/>
            <a:t>, no </a:t>
          </a:r>
          <a:r>
            <a:rPr lang="en-US" sz="2800" dirty="0" err="1"/>
            <a:t>en</a:t>
          </a:r>
          <a:r>
            <a:rPr lang="en-US" sz="2800" dirty="0"/>
            <a:t> personas </a:t>
          </a:r>
        </a:p>
      </dgm:t>
    </dgm:pt>
    <dgm:pt modelId="{6927A38A-4FF1-C64E-A2FD-892156801D6F}" type="parTrans" cxnId="{A22E2617-44E4-BB40-91F6-93948EC99015}">
      <dgm:prSet/>
      <dgm:spPr/>
      <dgm:t>
        <a:bodyPr/>
        <a:lstStyle/>
        <a:p>
          <a:endParaRPr lang="en-US"/>
        </a:p>
      </dgm:t>
    </dgm:pt>
    <dgm:pt modelId="{561B1EFA-CC62-AB43-8ECC-461B08CA4673}" type="sibTrans" cxnId="{A22E2617-44E4-BB40-91F6-93948EC99015}">
      <dgm:prSet/>
      <dgm:spPr/>
      <dgm:t>
        <a:bodyPr/>
        <a:lstStyle/>
        <a:p>
          <a:endParaRPr lang="en-US"/>
        </a:p>
      </dgm:t>
    </dgm:pt>
    <dgm:pt modelId="{46F8C35B-E769-3844-A5CF-66BEF6350E9F}">
      <dgm:prSet phldrT="[Text]"/>
      <dgm:spPr/>
      <dgm:t>
        <a:bodyPr/>
        <a:lstStyle/>
        <a:p>
          <a:r>
            <a:rPr lang="en-US" dirty="0"/>
            <a:t>No hay </a:t>
          </a:r>
          <a:r>
            <a:rPr lang="en-US" dirty="0" err="1"/>
            <a:t>validadores</a:t>
          </a:r>
          <a:r>
            <a:rPr lang="en-US" dirty="0"/>
            <a:t> de </a:t>
          </a:r>
          <a:r>
            <a:rPr lang="en-US" dirty="0" err="1"/>
            <a:t>calidad</a:t>
          </a:r>
          <a:r>
            <a:rPr lang="en-US" dirty="0"/>
            <a:t> de </a:t>
          </a:r>
          <a:r>
            <a:rPr lang="en-US" dirty="0" err="1"/>
            <a:t>datos</a:t>
          </a:r>
          <a:endParaRPr lang="en-US" dirty="0"/>
        </a:p>
      </dgm:t>
    </dgm:pt>
    <dgm:pt modelId="{C3270B79-025C-4E4A-BE1E-A046C97B3289}" type="parTrans" cxnId="{35F11E3F-6361-C441-A412-D2B669DD03A2}">
      <dgm:prSet/>
      <dgm:spPr/>
      <dgm:t>
        <a:bodyPr/>
        <a:lstStyle/>
        <a:p>
          <a:endParaRPr lang="en-US"/>
        </a:p>
      </dgm:t>
    </dgm:pt>
    <dgm:pt modelId="{2B6FEC8B-6298-DB4C-9E4E-2F37F6EE1328}" type="sibTrans" cxnId="{35F11E3F-6361-C441-A412-D2B669DD03A2}">
      <dgm:prSet/>
      <dgm:spPr/>
      <dgm:t>
        <a:bodyPr/>
        <a:lstStyle/>
        <a:p>
          <a:endParaRPr lang="en-US"/>
        </a:p>
      </dgm:t>
    </dgm:pt>
    <dgm:pt modelId="{DF34EAC2-C57D-2049-A25E-59705E4F8F64}">
      <dgm:prSet phldrT="[Text]"/>
      <dgm:spPr/>
      <dgm:t>
        <a:bodyPr/>
        <a:lstStyle/>
        <a:p>
          <a:r>
            <a:rPr lang="en-US" dirty="0" err="1"/>
            <a:t>Problemas</a:t>
          </a:r>
          <a:r>
            <a:rPr lang="en-US" dirty="0"/>
            <a:t> de </a:t>
          </a:r>
          <a:r>
            <a:rPr lang="en-US" dirty="0" err="1"/>
            <a:t>registro</a:t>
          </a:r>
          <a:endParaRPr lang="en-US" dirty="0"/>
        </a:p>
      </dgm:t>
    </dgm:pt>
    <dgm:pt modelId="{4DC398BC-702C-9D41-A331-79B15B2B82D5}" type="parTrans" cxnId="{B4794BD9-D824-F544-B7EC-6688DE20470D}">
      <dgm:prSet/>
      <dgm:spPr/>
      <dgm:t>
        <a:bodyPr/>
        <a:lstStyle/>
        <a:p>
          <a:endParaRPr lang="en-US"/>
        </a:p>
      </dgm:t>
    </dgm:pt>
    <dgm:pt modelId="{6C2E4081-93B3-FF48-ACF0-046235875300}" type="sibTrans" cxnId="{B4794BD9-D824-F544-B7EC-6688DE20470D}">
      <dgm:prSet/>
      <dgm:spPr/>
      <dgm:t>
        <a:bodyPr/>
        <a:lstStyle/>
        <a:p>
          <a:endParaRPr lang="en-US"/>
        </a:p>
      </dgm:t>
    </dgm:pt>
    <dgm:pt modelId="{2DA85B82-A362-A242-890B-74DA043C32CB}">
      <dgm:prSet phldrT="[Text]"/>
      <dgm:spPr/>
      <dgm:t>
        <a:bodyPr/>
        <a:lstStyle/>
        <a:p>
          <a:r>
            <a:rPr lang="en-US" dirty="0"/>
            <a:t>Sistema opera </a:t>
          </a:r>
          <a:r>
            <a:rPr lang="en-US" dirty="0" err="1"/>
            <a:t>como</a:t>
          </a:r>
          <a:r>
            <a:rPr lang="en-US" dirty="0"/>
            <a:t> Sistema de </a:t>
          </a:r>
          <a:r>
            <a:rPr lang="en-US" dirty="0" err="1"/>
            <a:t>rendición</a:t>
          </a:r>
          <a:r>
            <a:rPr lang="en-US" dirty="0"/>
            <a:t> de </a:t>
          </a:r>
          <a:r>
            <a:rPr lang="en-US" dirty="0" err="1"/>
            <a:t>cuentas</a:t>
          </a:r>
          <a:endParaRPr lang="en-US" dirty="0"/>
        </a:p>
      </dgm:t>
    </dgm:pt>
    <dgm:pt modelId="{FE6A3950-7824-A04F-AD5E-4CFA3EAC2D46}" type="parTrans" cxnId="{05EA7068-0062-AD4F-B4BD-18AB3483E6D1}">
      <dgm:prSet/>
      <dgm:spPr/>
      <dgm:t>
        <a:bodyPr/>
        <a:lstStyle/>
        <a:p>
          <a:endParaRPr lang="en-US"/>
        </a:p>
      </dgm:t>
    </dgm:pt>
    <dgm:pt modelId="{17C91538-0D8F-2540-A656-6F7BCC6B306B}" type="sibTrans" cxnId="{05EA7068-0062-AD4F-B4BD-18AB3483E6D1}">
      <dgm:prSet/>
      <dgm:spPr/>
      <dgm:t>
        <a:bodyPr/>
        <a:lstStyle/>
        <a:p>
          <a:endParaRPr lang="en-US"/>
        </a:p>
      </dgm:t>
    </dgm:pt>
    <dgm:pt modelId="{E1CCBEF6-1C28-3C43-9997-98A93C65AB00}">
      <dgm:prSet phldrT="[Text]"/>
      <dgm:spPr/>
      <dgm:t>
        <a:bodyPr/>
        <a:lstStyle/>
        <a:p>
          <a:r>
            <a:rPr lang="en-US" dirty="0"/>
            <a:t>No </a:t>
          </a:r>
          <a:r>
            <a:rPr lang="en-US" dirty="0" err="1"/>
            <a:t>está</a:t>
          </a:r>
          <a:r>
            <a:rPr lang="en-US" dirty="0"/>
            <a:t> </a:t>
          </a:r>
          <a:r>
            <a:rPr lang="en-US" dirty="0" err="1"/>
            <a:t>integrado</a:t>
          </a:r>
          <a:r>
            <a:rPr lang="en-US" dirty="0"/>
            <a:t> con </a:t>
          </a:r>
          <a:r>
            <a:rPr lang="en-US" dirty="0" err="1"/>
            <a:t>ningún</a:t>
          </a:r>
          <a:r>
            <a:rPr lang="en-US" dirty="0"/>
            <a:t> </a:t>
          </a:r>
          <a:r>
            <a:rPr lang="en-US" dirty="0" err="1"/>
            <a:t>otro</a:t>
          </a:r>
          <a:r>
            <a:rPr lang="en-US" dirty="0"/>
            <a:t> Sistema de </a:t>
          </a:r>
          <a:r>
            <a:rPr lang="en-US" dirty="0" err="1"/>
            <a:t>información</a:t>
          </a:r>
          <a:endParaRPr lang="en-US" dirty="0"/>
        </a:p>
      </dgm:t>
    </dgm:pt>
    <dgm:pt modelId="{96876D59-4178-BE42-AA80-FB3844FECD38}" type="parTrans" cxnId="{1982999D-25EF-FD40-94F1-9976A99B9AB1}">
      <dgm:prSet/>
      <dgm:spPr/>
      <dgm:t>
        <a:bodyPr/>
        <a:lstStyle/>
        <a:p>
          <a:endParaRPr lang="en-US"/>
        </a:p>
      </dgm:t>
    </dgm:pt>
    <dgm:pt modelId="{464803F7-6A1F-4E41-AD51-6247180A92BE}" type="sibTrans" cxnId="{1982999D-25EF-FD40-94F1-9976A99B9AB1}">
      <dgm:prSet/>
      <dgm:spPr/>
      <dgm:t>
        <a:bodyPr/>
        <a:lstStyle/>
        <a:p>
          <a:endParaRPr lang="en-US"/>
        </a:p>
      </dgm:t>
    </dgm:pt>
    <dgm:pt modelId="{AB62F1F3-4660-DD4B-9C73-B053E03F5CB2}">
      <dgm:prSet/>
      <dgm:spPr/>
      <dgm:t>
        <a:bodyPr/>
        <a:lstStyle/>
        <a:p>
          <a:r>
            <a:rPr lang="en-US" dirty="0" err="1"/>
            <a:t>Poco</a:t>
          </a:r>
          <a:r>
            <a:rPr lang="en-US" dirty="0"/>
            <a:t> </a:t>
          </a:r>
          <a:r>
            <a:rPr lang="en-US" dirty="0" err="1"/>
            <a:t>uso</a:t>
          </a:r>
          <a:r>
            <a:rPr lang="en-US" dirty="0"/>
            <a:t> de </a:t>
          </a:r>
          <a:r>
            <a:rPr lang="en-US" dirty="0" err="1"/>
            <a:t>herramientas</a:t>
          </a:r>
          <a:r>
            <a:rPr lang="en-US" dirty="0"/>
            <a:t> </a:t>
          </a:r>
          <a:r>
            <a:rPr lang="en-US" dirty="0" err="1"/>
            <a:t>analíticas</a:t>
          </a:r>
          <a:endParaRPr lang="en-US" dirty="0"/>
        </a:p>
      </dgm:t>
    </dgm:pt>
    <dgm:pt modelId="{8854A64E-6E30-A846-9CEC-262DA6294502}" type="parTrans" cxnId="{BED364FC-516A-BA46-BA43-C32F85F5D094}">
      <dgm:prSet/>
      <dgm:spPr/>
      <dgm:t>
        <a:bodyPr/>
        <a:lstStyle/>
        <a:p>
          <a:endParaRPr lang="en-US"/>
        </a:p>
      </dgm:t>
    </dgm:pt>
    <dgm:pt modelId="{7BF221A3-67EA-5143-876F-6D9FF5A9FEF9}" type="sibTrans" cxnId="{BED364FC-516A-BA46-BA43-C32F85F5D094}">
      <dgm:prSet/>
      <dgm:spPr/>
      <dgm:t>
        <a:bodyPr/>
        <a:lstStyle/>
        <a:p>
          <a:endParaRPr lang="en-US"/>
        </a:p>
      </dgm:t>
    </dgm:pt>
    <dgm:pt modelId="{FAF51348-2FB8-8C44-BA21-34BE0A4799E3}" type="pres">
      <dgm:prSet presAssocID="{A9318842-A973-9247-B2E7-A9482315335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C377012-1B23-4D44-BE4F-46AC5CAB4CFA}" type="pres">
      <dgm:prSet presAssocID="{1F86FF48-FBB1-8540-A729-944048FF1154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9BA6C57-5352-5246-8769-DD7F2D44DA2F}" type="pres">
      <dgm:prSet presAssocID="{561B1EFA-CC62-AB43-8ECC-461B08CA4673}" presName="sibTrans" presStyleCnt="0"/>
      <dgm:spPr/>
    </dgm:pt>
    <dgm:pt modelId="{04582DB6-7448-1445-BEF7-0F97D4E8C18F}" type="pres">
      <dgm:prSet presAssocID="{46F8C35B-E769-3844-A5CF-66BEF6350E9F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A0BC692-180C-2A43-BCAA-98D7E6B3D65C}" type="pres">
      <dgm:prSet presAssocID="{2B6FEC8B-6298-DB4C-9E4E-2F37F6EE1328}" presName="sibTrans" presStyleCnt="0"/>
      <dgm:spPr/>
    </dgm:pt>
    <dgm:pt modelId="{E37219DC-5061-5146-A0B4-AE86A3CEFA28}" type="pres">
      <dgm:prSet presAssocID="{DF34EAC2-C57D-2049-A25E-59705E4F8F64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79F3D3E-E6CA-A048-AF18-5F8B53FF25B1}" type="pres">
      <dgm:prSet presAssocID="{6C2E4081-93B3-FF48-ACF0-046235875300}" presName="sibTrans" presStyleCnt="0"/>
      <dgm:spPr/>
    </dgm:pt>
    <dgm:pt modelId="{3CAE2127-2F92-DA4B-81DB-6B1C870CD920}" type="pres">
      <dgm:prSet presAssocID="{2DA85B82-A362-A242-890B-74DA043C32CB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8103223-965D-794E-8FBF-9BD42576D267}" type="pres">
      <dgm:prSet presAssocID="{17C91538-0D8F-2540-A656-6F7BCC6B306B}" presName="sibTrans" presStyleCnt="0"/>
      <dgm:spPr/>
    </dgm:pt>
    <dgm:pt modelId="{12BB9BEA-824A-8543-BA7D-F4B75372A68C}" type="pres">
      <dgm:prSet presAssocID="{E1CCBEF6-1C28-3C43-9997-98A93C65AB00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1457081-806A-394F-A322-7504E2D9A931}" type="pres">
      <dgm:prSet presAssocID="{464803F7-6A1F-4E41-AD51-6247180A92BE}" presName="sibTrans" presStyleCnt="0"/>
      <dgm:spPr/>
    </dgm:pt>
    <dgm:pt modelId="{7B0FDF1F-8FD1-B749-9BC9-70D1527E0414}" type="pres">
      <dgm:prSet presAssocID="{AB62F1F3-4660-DD4B-9C73-B053E03F5CB2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5EA7068-0062-AD4F-B4BD-18AB3483E6D1}" srcId="{A9318842-A973-9247-B2E7-A94823153352}" destId="{2DA85B82-A362-A242-890B-74DA043C32CB}" srcOrd="3" destOrd="0" parTransId="{FE6A3950-7824-A04F-AD5E-4CFA3EAC2D46}" sibTransId="{17C91538-0D8F-2540-A656-6F7BCC6B306B}"/>
    <dgm:cxn modelId="{4C93C041-E61D-EE48-838D-9C430EF28B9F}" type="presOf" srcId="{E1CCBEF6-1C28-3C43-9997-98A93C65AB00}" destId="{12BB9BEA-824A-8543-BA7D-F4B75372A68C}" srcOrd="0" destOrd="0" presId="urn:microsoft.com/office/officeart/2005/8/layout/default"/>
    <dgm:cxn modelId="{58E0DA22-1E6B-B444-8346-333E9EE255A0}" type="presOf" srcId="{1F86FF48-FBB1-8540-A729-944048FF1154}" destId="{1C377012-1B23-4D44-BE4F-46AC5CAB4CFA}" srcOrd="0" destOrd="0" presId="urn:microsoft.com/office/officeart/2005/8/layout/default"/>
    <dgm:cxn modelId="{D27B691D-8828-4D41-8F4A-B804948FF3E7}" type="presOf" srcId="{A9318842-A973-9247-B2E7-A94823153352}" destId="{FAF51348-2FB8-8C44-BA21-34BE0A4799E3}" srcOrd="0" destOrd="0" presId="urn:microsoft.com/office/officeart/2005/8/layout/default"/>
    <dgm:cxn modelId="{585B4085-AC02-E441-9CEA-B96F0C1D3C4E}" type="presOf" srcId="{2DA85B82-A362-A242-890B-74DA043C32CB}" destId="{3CAE2127-2F92-DA4B-81DB-6B1C870CD920}" srcOrd="0" destOrd="0" presId="urn:microsoft.com/office/officeart/2005/8/layout/default"/>
    <dgm:cxn modelId="{68D8AE1B-AC9B-2047-95E3-2F4B2CAE2B52}" type="presOf" srcId="{AB62F1F3-4660-DD4B-9C73-B053E03F5CB2}" destId="{7B0FDF1F-8FD1-B749-9BC9-70D1527E0414}" srcOrd="0" destOrd="0" presId="urn:microsoft.com/office/officeart/2005/8/layout/default"/>
    <dgm:cxn modelId="{B4794BD9-D824-F544-B7EC-6688DE20470D}" srcId="{A9318842-A973-9247-B2E7-A94823153352}" destId="{DF34EAC2-C57D-2049-A25E-59705E4F8F64}" srcOrd="2" destOrd="0" parTransId="{4DC398BC-702C-9D41-A331-79B15B2B82D5}" sibTransId="{6C2E4081-93B3-FF48-ACF0-046235875300}"/>
    <dgm:cxn modelId="{BED364FC-516A-BA46-BA43-C32F85F5D094}" srcId="{A9318842-A973-9247-B2E7-A94823153352}" destId="{AB62F1F3-4660-DD4B-9C73-B053E03F5CB2}" srcOrd="5" destOrd="0" parTransId="{8854A64E-6E30-A846-9CEC-262DA6294502}" sibTransId="{7BF221A3-67EA-5143-876F-6D9FF5A9FEF9}"/>
    <dgm:cxn modelId="{C27E1B09-B72C-2D45-9768-67A5BDACF153}" type="presOf" srcId="{46F8C35B-E769-3844-A5CF-66BEF6350E9F}" destId="{04582DB6-7448-1445-BEF7-0F97D4E8C18F}" srcOrd="0" destOrd="0" presId="urn:microsoft.com/office/officeart/2005/8/layout/default"/>
    <dgm:cxn modelId="{35F11E3F-6361-C441-A412-D2B669DD03A2}" srcId="{A9318842-A973-9247-B2E7-A94823153352}" destId="{46F8C35B-E769-3844-A5CF-66BEF6350E9F}" srcOrd="1" destOrd="0" parTransId="{C3270B79-025C-4E4A-BE1E-A046C97B3289}" sibTransId="{2B6FEC8B-6298-DB4C-9E4E-2F37F6EE1328}"/>
    <dgm:cxn modelId="{8F4CB214-50DB-3D45-A951-2ED3319DA8AB}" type="presOf" srcId="{DF34EAC2-C57D-2049-A25E-59705E4F8F64}" destId="{E37219DC-5061-5146-A0B4-AE86A3CEFA28}" srcOrd="0" destOrd="0" presId="urn:microsoft.com/office/officeart/2005/8/layout/default"/>
    <dgm:cxn modelId="{A22E2617-44E4-BB40-91F6-93948EC99015}" srcId="{A9318842-A973-9247-B2E7-A94823153352}" destId="{1F86FF48-FBB1-8540-A729-944048FF1154}" srcOrd="0" destOrd="0" parTransId="{6927A38A-4FF1-C64E-A2FD-892156801D6F}" sibTransId="{561B1EFA-CC62-AB43-8ECC-461B08CA4673}"/>
    <dgm:cxn modelId="{1982999D-25EF-FD40-94F1-9976A99B9AB1}" srcId="{A9318842-A973-9247-B2E7-A94823153352}" destId="{E1CCBEF6-1C28-3C43-9997-98A93C65AB00}" srcOrd="4" destOrd="0" parTransId="{96876D59-4178-BE42-AA80-FB3844FECD38}" sibTransId="{464803F7-6A1F-4E41-AD51-6247180A92BE}"/>
    <dgm:cxn modelId="{5E5B8873-F1E9-FC43-B495-4861931628ED}" type="presParOf" srcId="{FAF51348-2FB8-8C44-BA21-34BE0A4799E3}" destId="{1C377012-1B23-4D44-BE4F-46AC5CAB4CFA}" srcOrd="0" destOrd="0" presId="urn:microsoft.com/office/officeart/2005/8/layout/default"/>
    <dgm:cxn modelId="{94EEAA18-7AFE-0742-9D71-F35ED0F679E8}" type="presParOf" srcId="{FAF51348-2FB8-8C44-BA21-34BE0A4799E3}" destId="{F9BA6C57-5352-5246-8769-DD7F2D44DA2F}" srcOrd="1" destOrd="0" presId="urn:microsoft.com/office/officeart/2005/8/layout/default"/>
    <dgm:cxn modelId="{F2143F7A-5CEE-2B4E-AB9B-D3BCAFB92D33}" type="presParOf" srcId="{FAF51348-2FB8-8C44-BA21-34BE0A4799E3}" destId="{04582DB6-7448-1445-BEF7-0F97D4E8C18F}" srcOrd="2" destOrd="0" presId="urn:microsoft.com/office/officeart/2005/8/layout/default"/>
    <dgm:cxn modelId="{D50981B8-3504-2A45-8E10-9DC481FD108E}" type="presParOf" srcId="{FAF51348-2FB8-8C44-BA21-34BE0A4799E3}" destId="{3A0BC692-180C-2A43-BCAA-98D7E6B3D65C}" srcOrd="3" destOrd="0" presId="urn:microsoft.com/office/officeart/2005/8/layout/default"/>
    <dgm:cxn modelId="{9B3F5309-8999-CB4E-BC50-B31A8B013FD7}" type="presParOf" srcId="{FAF51348-2FB8-8C44-BA21-34BE0A4799E3}" destId="{E37219DC-5061-5146-A0B4-AE86A3CEFA28}" srcOrd="4" destOrd="0" presId="urn:microsoft.com/office/officeart/2005/8/layout/default"/>
    <dgm:cxn modelId="{7BB7FB67-9A46-0E49-80C2-B33385AC2E90}" type="presParOf" srcId="{FAF51348-2FB8-8C44-BA21-34BE0A4799E3}" destId="{779F3D3E-E6CA-A048-AF18-5F8B53FF25B1}" srcOrd="5" destOrd="0" presId="urn:microsoft.com/office/officeart/2005/8/layout/default"/>
    <dgm:cxn modelId="{A8790F60-3282-7043-9B10-7385CDDF0BED}" type="presParOf" srcId="{FAF51348-2FB8-8C44-BA21-34BE0A4799E3}" destId="{3CAE2127-2F92-DA4B-81DB-6B1C870CD920}" srcOrd="6" destOrd="0" presId="urn:microsoft.com/office/officeart/2005/8/layout/default"/>
    <dgm:cxn modelId="{C8936481-8E49-AF45-918F-1B2952DD765B}" type="presParOf" srcId="{FAF51348-2FB8-8C44-BA21-34BE0A4799E3}" destId="{18103223-965D-794E-8FBF-9BD42576D267}" srcOrd="7" destOrd="0" presId="urn:microsoft.com/office/officeart/2005/8/layout/default"/>
    <dgm:cxn modelId="{384288F7-57B7-7841-95EB-59392F5B43C5}" type="presParOf" srcId="{FAF51348-2FB8-8C44-BA21-34BE0A4799E3}" destId="{12BB9BEA-824A-8543-BA7D-F4B75372A68C}" srcOrd="8" destOrd="0" presId="urn:microsoft.com/office/officeart/2005/8/layout/default"/>
    <dgm:cxn modelId="{4F2774A5-BC1E-284C-922F-D7F3CDFB2AEA}" type="presParOf" srcId="{FAF51348-2FB8-8C44-BA21-34BE0A4799E3}" destId="{71457081-806A-394F-A322-7504E2D9A931}" srcOrd="9" destOrd="0" presId="urn:microsoft.com/office/officeart/2005/8/layout/default"/>
    <dgm:cxn modelId="{43EFB608-227F-F340-87A7-AFBF44FF4337}" type="presParOf" srcId="{FAF51348-2FB8-8C44-BA21-34BE0A4799E3}" destId="{7B0FDF1F-8FD1-B749-9BC9-70D1527E0414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5A56DD4-A753-2142-B1CB-55F737840C46}" type="doc">
      <dgm:prSet loTypeId="urn:microsoft.com/office/officeart/2005/8/layout/vList3" loCatId="" qsTypeId="urn:microsoft.com/office/officeart/2005/8/quickstyle/simple1" qsCatId="simple" csTypeId="urn:microsoft.com/office/officeart/2005/8/colors/accent1_2" csCatId="accent1" phldr="1"/>
      <dgm:spPr/>
    </dgm:pt>
    <dgm:pt modelId="{F98E7EEB-5CB0-1048-8666-8B00376FBAA6}">
      <dgm:prSet phldrT="[Text]" custT="1"/>
      <dgm:spPr/>
      <dgm:t>
        <a:bodyPr/>
        <a:lstStyle/>
        <a:p>
          <a:r>
            <a:rPr lang="en-US" sz="2400" dirty="0" err="1"/>
            <a:t>Establecer</a:t>
          </a:r>
          <a:r>
            <a:rPr lang="en-US" sz="2400" dirty="0"/>
            <a:t> </a:t>
          </a:r>
          <a:r>
            <a:rPr lang="en-US" sz="2400" dirty="0" err="1"/>
            <a:t>protocolos</a:t>
          </a:r>
          <a:r>
            <a:rPr lang="en-US" sz="2400" dirty="0"/>
            <a:t> y </a:t>
          </a:r>
          <a:r>
            <a:rPr lang="en-US" sz="2400" dirty="0" err="1"/>
            <a:t>criterios</a:t>
          </a:r>
          <a:r>
            <a:rPr lang="en-US" sz="2400" dirty="0"/>
            <a:t> de </a:t>
          </a:r>
          <a:r>
            <a:rPr lang="en-US" sz="2400" dirty="0" err="1"/>
            <a:t>priorización</a:t>
          </a:r>
          <a:r>
            <a:rPr lang="en-US" sz="2400" dirty="0"/>
            <a:t>, </a:t>
          </a:r>
          <a:r>
            <a:rPr lang="en-US" sz="2400" dirty="0" err="1"/>
            <a:t>según</a:t>
          </a:r>
          <a:r>
            <a:rPr lang="en-US" sz="2400" dirty="0"/>
            <a:t> </a:t>
          </a:r>
          <a:r>
            <a:rPr lang="en-US" sz="2400" dirty="0" err="1"/>
            <a:t>criterios</a:t>
          </a:r>
          <a:r>
            <a:rPr lang="en-US" sz="2400" dirty="0"/>
            <a:t> de </a:t>
          </a:r>
          <a:r>
            <a:rPr lang="en-US" sz="2400" dirty="0" err="1"/>
            <a:t>riesgo</a:t>
          </a:r>
          <a:endParaRPr lang="en-US" sz="2400" dirty="0"/>
        </a:p>
      </dgm:t>
    </dgm:pt>
    <dgm:pt modelId="{96A5F1F0-696A-3C4A-90CA-35BB73C9D5C2}" type="parTrans" cxnId="{BDE66469-9F00-A84E-B480-0F942B166221}">
      <dgm:prSet/>
      <dgm:spPr/>
      <dgm:t>
        <a:bodyPr/>
        <a:lstStyle/>
        <a:p>
          <a:endParaRPr lang="en-US"/>
        </a:p>
      </dgm:t>
    </dgm:pt>
    <dgm:pt modelId="{1E85D1D8-CCB5-6646-B1AE-939DA29FD7EB}" type="sibTrans" cxnId="{BDE66469-9F00-A84E-B480-0F942B166221}">
      <dgm:prSet/>
      <dgm:spPr/>
      <dgm:t>
        <a:bodyPr/>
        <a:lstStyle/>
        <a:p>
          <a:endParaRPr lang="en-US"/>
        </a:p>
      </dgm:t>
    </dgm:pt>
    <dgm:pt modelId="{17832E76-A885-1F40-8D8E-536543391DAE}">
      <dgm:prSet phldrT="[Text]" custT="1"/>
      <dgm:spPr/>
      <dgm:t>
        <a:bodyPr/>
        <a:lstStyle/>
        <a:p>
          <a:r>
            <a:rPr lang="en-US" sz="2400" dirty="0" err="1"/>
            <a:t>Considerar</a:t>
          </a:r>
          <a:r>
            <a:rPr lang="en-US" sz="2400" dirty="0"/>
            <a:t> </a:t>
          </a:r>
          <a:r>
            <a:rPr lang="en-US" sz="2400" dirty="0" err="1"/>
            <a:t>rangos</a:t>
          </a:r>
          <a:r>
            <a:rPr lang="en-US" sz="2400" dirty="0"/>
            <a:t> de </a:t>
          </a:r>
          <a:r>
            <a:rPr lang="en-US" sz="2400" dirty="0" err="1"/>
            <a:t>tiempos</a:t>
          </a:r>
          <a:r>
            <a:rPr lang="en-US" sz="2400" dirty="0"/>
            <a:t> </a:t>
          </a:r>
          <a:r>
            <a:rPr lang="en-US" sz="2400" dirty="0" err="1"/>
            <a:t>máximos</a:t>
          </a:r>
          <a:r>
            <a:rPr lang="en-US" sz="2400" dirty="0"/>
            <a:t> de </a:t>
          </a:r>
          <a:r>
            <a:rPr lang="en-US" sz="2400" dirty="0" err="1"/>
            <a:t>antigüedad</a:t>
          </a:r>
          <a:r>
            <a:rPr lang="en-US" sz="2400" dirty="0"/>
            <a:t> </a:t>
          </a:r>
          <a:r>
            <a:rPr lang="en-US" sz="2400" dirty="0" err="1"/>
            <a:t>por</a:t>
          </a:r>
          <a:r>
            <a:rPr lang="en-US" sz="2400" dirty="0"/>
            <a:t> </a:t>
          </a:r>
          <a:r>
            <a:rPr lang="en-US" sz="2400" dirty="0" err="1"/>
            <a:t>patología</a:t>
          </a:r>
          <a:endParaRPr lang="en-US" sz="2400" dirty="0"/>
        </a:p>
      </dgm:t>
    </dgm:pt>
    <dgm:pt modelId="{056BE5EC-88D9-3742-A348-EC9B7419232D}" type="parTrans" cxnId="{3CD2EF1C-69E9-8B44-8DCC-B6255E8A4B37}">
      <dgm:prSet/>
      <dgm:spPr/>
      <dgm:t>
        <a:bodyPr/>
        <a:lstStyle/>
        <a:p>
          <a:endParaRPr lang="en-US"/>
        </a:p>
      </dgm:t>
    </dgm:pt>
    <dgm:pt modelId="{71F58381-5ADE-7042-AA4E-AF0BC2497821}" type="sibTrans" cxnId="{3CD2EF1C-69E9-8B44-8DCC-B6255E8A4B37}">
      <dgm:prSet/>
      <dgm:spPr/>
      <dgm:t>
        <a:bodyPr/>
        <a:lstStyle/>
        <a:p>
          <a:endParaRPr lang="en-US"/>
        </a:p>
      </dgm:t>
    </dgm:pt>
    <dgm:pt modelId="{C7D3B167-B3E2-8A4A-8741-987618F49CF7}">
      <dgm:prSet phldrT="[Text]" custT="1"/>
      <dgm:spPr/>
      <dgm:t>
        <a:bodyPr/>
        <a:lstStyle/>
        <a:p>
          <a:r>
            <a:rPr lang="en-US" sz="2400" dirty="0" err="1"/>
            <a:t>Definir</a:t>
          </a:r>
          <a:r>
            <a:rPr lang="en-US" sz="2400" dirty="0"/>
            <a:t> Indicadores para el </a:t>
          </a:r>
          <a:r>
            <a:rPr lang="en-US" sz="2400" dirty="0" err="1"/>
            <a:t>monitoreo</a:t>
          </a:r>
          <a:r>
            <a:rPr lang="en-US" sz="2400" dirty="0"/>
            <a:t> de la </a:t>
          </a:r>
          <a:r>
            <a:rPr lang="en-US" sz="2400" dirty="0" err="1"/>
            <a:t>gestión</a:t>
          </a:r>
          <a:r>
            <a:rPr lang="en-US" sz="2400" dirty="0"/>
            <a:t> de </a:t>
          </a:r>
          <a:r>
            <a:rPr lang="en-US" sz="2400" dirty="0" err="1"/>
            <a:t>los</a:t>
          </a:r>
          <a:r>
            <a:rPr lang="en-US" sz="2400" dirty="0"/>
            <a:t> </a:t>
          </a:r>
          <a:r>
            <a:rPr lang="en-US" sz="2400" dirty="0" err="1"/>
            <a:t>tiempos</a:t>
          </a:r>
          <a:r>
            <a:rPr lang="en-US" sz="2400" dirty="0"/>
            <a:t> de </a:t>
          </a:r>
          <a:r>
            <a:rPr lang="en-US" sz="2400" dirty="0" err="1"/>
            <a:t>espera</a:t>
          </a:r>
          <a:endParaRPr lang="en-US" sz="2400" dirty="0"/>
        </a:p>
      </dgm:t>
    </dgm:pt>
    <dgm:pt modelId="{88E71DF7-9025-074C-AD38-19E5535F3F51}" type="parTrans" cxnId="{34FC3962-1EB8-3042-A954-71D0C872CE39}">
      <dgm:prSet/>
      <dgm:spPr/>
      <dgm:t>
        <a:bodyPr/>
        <a:lstStyle/>
        <a:p>
          <a:endParaRPr lang="en-US"/>
        </a:p>
      </dgm:t>
    </dgm:pt>
    <dgm:pt modelId="{50014505-1C99-6148-8262-9BCC2EC65F6E}" type="sibTrans" cxnId="{34FC3962-1EB8-3042-A954-71D0C872CE39}">
      <dgm:prSet/>
      <dgm:spPr/>
      <dgm:t>
        <a:bodyPr/>
        <a:lstStyle/>
        <a:p>
          <a:endParaRPr lang="en-US"/>
        </a:p>
      </dgm:t>
    </dgm:pt>
    <dgm:pt modelId="{337CF699-E3A9-3545-8555-0CDA03D0858F}">
      <dgm:prSet/>
      <dgm:spPr/>
      <dgm:t>
        <a:bodyPr/>
        <a:lstStyle/>
        <a:p>
          <a:r>
            <a:rPr lang="en-US" dirty="0" err="1"/>
            <a:t>Agregar</a:t>
          </a:r>
          <a:r>
            <a:rPr lang="en-US" dirty="0"/>
            <a:t> valor a la </a:t>
          </a:r>
          <a:r>
            <a:rPr lang="en-US" dirty="0" err="1"/>
            <a:t>toma</a:t>
          </a:r>
          <a:r>
            <a:rPr lang="en-US" dirty="0"/>
            <a:t> de </a:t>
          </a:r>
          <a:r>
            <a:rPr lang="en-US" dirty="0" err="1"/>
            <a:t>decisiones</a:t>
          </a:r>
          <a:r>
            <a:rPr lang="en-US" dirty="0"/>
            <a:t>, </a:t>
          </a:r>
          <a:r>
            <a:rPr lang="en-US" dirty="0" err="1"/>
            <a:t>proporcionando</a:t>
          </a:r>
          <a:r>
            <a:rPr lang="en-US" dirty="0"/>
            <a:t> </a:t>
          </a:r>
          <a:r>
            <a:rPr lang="en-US" dirty="0" err="1"/>
            <a:t>información</a:t>
          </a:r>
          <a:r>
            <a:rPr lang="en-US" dirty="0"/>
            <a:t> </a:t>
          </a:r>
          <a:r>
            <a:rPr lang="en-US" dirty="0" err="1"/>
            <a:t>relevante</a:t>
          </a:r>
          <a:endParaRPr lang="en-US" dirty="0"/>
        </a:p>
      </dgm:t>
    </dgm:pt>
    <dgm:pt modelId="{003366C7-9888-6341-AA70-8C1CB0F04F14}" type="parTrans" cxnId="{546FEC5C-2E36-3648-947E-656E5CD80724}">
      <dgm:prSet/>
      <dgm:spPr/>
      <dgm:t>
        <a:bodyPr/>
        <a:lstStyle/>
        <a:p>
          <a:endParaRPr lang="en-US"/>
        </a:p>
      </dgm:t>
    </dgm:pt>
    <dgm:pt modelId="{A29AC3F3-A2FC-794E-8B51-D2B893D4D9B0}" type="sibTrans" cxnId="{546FEC5C-2E36-3648-947E-656E5CD80724}">
      <dgm:prSet/>
      <dgm:spPr/>
      <dgm:t>
        <a:bodyPr/>
        <a:lstStyle/>
        <a:p>
          <a:endParaRPr lang="en-US"/>
        </a:p>
      </dgm:t>
    </dgm:pt>
    <dgm:pt modelId="{AA3EB9D3-E8F2-664A-A862-6B73ABE80F4E}" type="pres">
      <dgm:prSet presAssocID="{D5A56DD4-A753-2142-B1CB-55F737840C46}" presName="linearFlow" presStyleCnt="0">
        <dgm:presLayoutVars>
          <dgm:dir/>
          <dgm:resizeHandles val="exact"/>
        </dgm:presLayoutVars>
      </dgm:prSet>
      <dgm:spPr/>
    </dgm:pt>
    <dgm:pt modelId="{A048EC08-4549-614C-9D12-76762B05B5A6}" type="pres">
      <dgm:prSet presAssocID="{F98E7EEB-5CB0-1048-8666-8B00376FBAA6}" presName="composite" presStyleCnt="0"/>
      <dgm:spPr/>
    </dgm:pt>
    <dgm:pt modelId="{FBC9FE48-93AD-5B4A-83FE-4D7EFB9E504D}" type="pres">
      <dgm:prSet presAssocID="{F98E7EEB-5CB0-1048-8666-8B00376FBAA6}" presName="imgShp" presStyleLbl="fgImgPlace1" presStyleIdx="0" presStyleCnt="4"/>
      <dgm:spPr/>
    </dgm:pt>
    <dgm:pt modelId="{3AB52514-6464-E14F-AA5F-D725DD92BB9C}" type="pres">
      <dgm:prSet presAssocID="{F98E7EEB-5CB0-1048-8666-8B00376FBAA6}" presName="tx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5635A5-7CA4-EC49-B34F-5B91893188B5}" type="pres">
      <dgm:prSet presAssocID="{1E85D1D8-CCB5-6646-B1AE-939DA29FD7EB}" presName="spacing" presStyleCnt="0"/>
      <dgm:spPr/>
    </dgm:pt>
    <dgm:pt modelId="{857D9AAC-93DB-CC45-9B79-EEE823A9DB6D}" type="pres">
      <dgm:prSet presAssocID="{17832E76-A885-1F40-8D8E-536543391DAE}" presName="composite" presStyleCnt="0"/>
      <dgm:spPr/>
    </dgm:pt>
    <dgm:pt modelId="{5B3912DC-D4B6-764F-A4DB-EDDEEB496D4C}" type="pres">
      <dgm:prSet presAssocID="{17832E76-A885-1F40-8D8E-536543391DAE}" presName="imgShp" presStyleLbl="fgImgPlace1" presStyleIdx="1" presStyleCnt="4"/>
      <dgm:spPr/>
    </dgm:pt>
    <dgm:pt modelId="{87A7156D-35D2-ED4B-A5F4-D2C8FD069FB2}" type="pres">
      <dgm:prSet presAssocID="{17832E76-A885-1F40-8D8E-536543391DAE}" presName="tx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4575DE-6429-9645-B96A-4660EA64E932}" type="pres">
      <dgm:prSet presAssocID="{71F58381-5ADE-7042-AA4E-AF0BC2497821}" presName="spacing" presStyleCnt="0"/>
      <dgm:spPr/>
    </dgm:pt>
    <dgm:pt modelId="{50898E4C-8AED-4E43-A444-B75D516C8304}" type="pres">
      <dgm:prSet presAssocID="{C7D3B167-B3E2-8A4A-8741-987618F49CF7}" presName="composite" presStyleCnt="0"/>
      <dgm:spPr/>
    </dgm:pt>
    <dgm:pt modelId="{6209284D-BAD0-9D41-A46A-A39597ACC9C8}" type="pres">
      <dgm:prSet presAssocID="{C7D3B167-B3E2-8A4A-8741-987618F49CF7}" presName="imgShp" presStyleLbl="fgImgPlace1" presStyleIdx="2" presStyleCnt="4"/>
      <dgm:spPr/>
    </dgm:pt>
    <dgm:pt modelId="{6B7FD5CD-79E6-0E4E-8DBB-5390AF8F69D9}" type="pres">
      <dgm:prSet presAssocID="{C7D3B167-B3E2-8A4A-8741-987618F49CF7}" presName="tx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7CF5869-0C3B-D44B-8986-3C0D94A76A17}" type="pres">
      <dgm:prSet presAssocID="{50014505-1C99-6148-8262-9BCC2EC65F6E}" presName="spacing" presStyleCnt="0"/>
      <dgm:spPr/>
    </dgm:pt>
    <dgm:pt modelId="{E5ED4619-1DB7-F246-B1AD-B01BF1F72B3A}" type="pres">
      <dgm:prSet presAssocID="{337CF699-E3A9-3545-8555-0CDA03D0858F}" presName="composite" presStyleCnt="0"/>
      <dgm:spPr/>
    </dgm:pt>
    <dgm:pt modelId="{5D9A0C97-D7B8-C846-AA39-0200EEF5A414}" type="pres">
      <dgm:prSet presAssocID="{337CF699-E3A9-3545-8555-0CDA03D0858F}" presName="imgShp" presStyleLbl="fgImgPlace1" presStyleIdx="3" presStyleCnt="4"/>
      <dgm:spPr/>
    </dgm:pt>
    <dgm:pt modelId="{4EAD69A2-ECC9-6D4C-BF26-148D04865A82}" type="pres">
      <dgm:prSet presAssocID="{337CF699-E3A9-3545-8555-0CDA03D0858F}" presName="tx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DE66469-9F00-A84E-B480-0F942B166221}" srcId="{D5A56DD4-A753-2142-B1CB-55F737840C46}" destId="{F98E7EEB-5CB0-1048-8666-8B00376FBAA6}" srcOrd="0" destOrd="0" parTransId="{96A5F1F0-696A-3C4A-90CA-35BB73C9D5C2}" sibTransId="{1E85D1D8-CCB5-6646-B1AE-939DA29FD7EB}"/>
    <dgm:cxn modelId="{52EDF31B-15C8-C840-94BB-D00A9005961C}" type="presOf" srcId="{F98E7EEB-5CB0-1048-8666-8B00376FBAA6}" destId="{3AB52514-6464-E14F-AA5F-D725DD92BB9C}" srcOrd="0" destOrd="0" presId="urn:microsoft.com/office/officeart/2005/8/layout/vList3"/>
    <dgm:cxn modelId="{34A1ECD7-6EA8-7042-910D-9B0203B9B9CF}" type="presOf" srcId="{337CF699-E3A9-3545-8555-0CDA03D0858F}" destId="{4EAD69A2-ECC9-6D4C-BF26-148D04865A82}" srcOrd="0" destOrd="0" presId="urn:microsoft.com/office/officeart/2005/8/layout/vList3"/>
    <dgm:cxn modelId="{34FC3962-1EB8-3042-A954-71D0C872CE39}" srcId="{D5A56DD4-A753-2142-B1CB-55F737840C46}" destId="{C7D3B167-B3E2-8A4A-8741-987618F49CF7}" srcOrd="2" destOrd="0" parTransId="{88E71DF7-9025-074C-AD38-19E5535F3F51}" sibTransId="{50014505-1C99-6148-8262-9BCC2EC65F6E}"/>
    <dgm:cxn modelId="{20E9FCED-2609-A342-B7FE-90852B010ADD}" type="presOf" srcId="{17832E76-A885-1F40-8D8E-536543391DAE}" destId="{87A7156D-35D2-ED4B-A5F4-D2C8FD069FB2}" srcOrd="0" destOrd="0" presId="urn:microsoft.com/office/officeart/2005/8/layout/vList3"/>
    <dgm:cxn modelId="{F59C8C35-FB3E-1742-8D99-0F56685B74FA}" type="presOf" srcId="{C7D3B167-B3E2-8A4A-8741-987618F49CF7}" destId="{6B7FD5CD-79E6-0E4E-8DBB-5390AF8F69D9}" srcOrd="0" destOrd="0" presId="urn:microsoft.com/office/officeart/2005/8/layout/vList3"/>
    <dgm:cxn modelId="{546FEC5C-2E36-3648-947E-656E5CD80724}" srcId="{D5A56DD4-A753-2142-B1CB-55F737840C46}" destId="{337CF699-E3A9-3545-8555-0CDA03D0858F}" srcOrd="3" destOrd="0" parTransId="{003366C7-9888-6341-AA70-8C1CB0F04F14}" sibTransId="{A29AC3F3-A2FC-794E-8B51-D2B893D4D9B0}"/>
    <dgm:cxn modelId="{003AF754-D492-E241-A828-D44D32A33AAA}" type="presOf" srcId="{D5A56DD4-A753-2142-B1CB-55F737840C46}" destId="{AA3EB9D3-E8F2-664A-A862-6B73ABE80F4E}" srcOrd="0" destOrd="0" presId="urn:microsoft.com/office/officeart/2005/8/layout/vList3"/>
    <dgm:cxn modelId="{3CD2EF1C-69E9-8B44-8DCC-B6255E8A4B37}" srcId="{D5A56DD4-A753-2142-B1CB-55F737840C46}" destId="{17832E76-A885-1F40-8D8E-536543391DAE}" srcOrd="1" destOrd="0" parTransId="{056BE5EC-88D9-3742-A348-EC9B7419232D}" sibTransId="{71F58381-5ADE-7042-AA4E-AF0BC2497821}"/>
    <dgm:cxn modelId="{09E5C49C-099B-BA48-95EC-7E7E845F1AB1}" type="presParOf" srcId="{AA3EB9D3-E8F2-664A-A862-6B73ABE80F4E}" destId="{A048EC08-4549-614C-9D12-76762B05B5A6}" srcOrd="0" destOrd="0" presId="urn:microsoft.com/office/officeart/2005/8/layout/vList3"/>
    <dgm:cxn modelId="{5BDB867F-59E7-FD46-A21C-D51864D4C1FF}" type="presParOf" srcId="{A048EC08-4549-614C-9D12-76762B05B5A6}" destId="{FBC9FE48-93AD-5B4A-83FE-4D7EFB9E504D}" srcOrd="0" destOrd="0" presId="urn:microsoft.com/office/officeart/2005/8/layout/vList3"/>
    <dgm:cxn modelId="{68E781AB-F096-C647-94F1-E068507CECB4}" type="presParOf" srcId="{A048EC08-4549-614C-9D12-76762B05B5A6}" destId="{3AB52514-6464-E14F-AA5F-D725DD92BB9C}" srcOrd="1" destOrd="0" presId="urn:microsoft.com/office/officeart/2005/8/layout/vList3"/>
    <dgm:cxn modelId="{B71D876C-A62A-C946-8363-E15ABE3A24C1}" type="presParOf" srcId="{AA3EB9D3-E8F2-664A-A862-6B73ABE80F4E}" destId="{195635A5-7CA4-EC49-B34F-5B91893188B5}" srcOrd="1" destOrd="0" presId="urn:microsoft.com/office/officeart/2005/8/layout/vList3"/>
    <dgm:cxn modelId="{35AC9951-7BC6-DF4A-89A4-E7565B2A565D}" type="presParOf" srcId="{AA3EB9D3-E8F2-664A-A862-6B73ABE80F4E}" destId="{857D9AAC-93DB-CC45-9B79-EEE823A9DB6D}" srcOrd="2" destOrd="0" presId="urn:microsoft.com/office/officeart/2005/8/layout/vList3"/>
    <dgm:cxn modelId="{75AE7B04-1179-834A-9585-5394AE1DF6AE}" type="presParOf" srcId="{857D9AAC-93DB-CC45-9B79-EEE823A9DB6D}" destId="{5B3912DC-D4B6-764F-A4DB-EDDEEB496D4C}" srcOrd="0" destOrd="0" presId="urn:microsoft.com/office/officeart/2005/8/layout/vList3"/>
    <dgm:cxn modelId="{245DE55C-9864-AA4D-9FC3-71C90B9325EC}" type="presParOf" srcId="{857D9AAC-93DB-CC45-9B79-EEE823A9DB6D}" destId="{87A7156D-35D2-ED4B-A5F4-D2C8FD069FB2}" srcOrd="1" destOrd="0" presId="urn:microsoft.com/office/officeart/2005/8/layout/vList3"/>
    <dgm:cxn modelId="{9C182A4F-6E6B-6446-9437-02F2E1094A16}" type="presParOf" srcId="{AA3EB9D3-E8F2-664A-A862-6B73ABE80F4E}" destId="{DC4575DE-6429-9645-B96A-4660EA64E932}" srcOrd="3" destOrd="0" presId="urn:microsoft.com/office/officeart/2005/8/layout/vList3"/>
    <dgm:cxn modelId="{9346E9C9-31BC-5B41-9079-3C137950FBEA}" type="presParOf" srcId="{AA3EB9D3-E8F2-664A-A862-6B73ABE80F4E}" destId="{50898E4C-8AED-4E43-A444-B75D516C8304}" srcOrd="4" destOrd="0" presId="urn:microsoft.com/office/officeart/2005/8/layout/vList3"/>
    <dgm:cxn modelId="{55B782E3-31CF-6E48-A2B9-B54AADEC2FBD}" type="presParOf" srcId="{50898E4C-8AED-4E43-A444-B75D516C8304}" destId="{6209284D-BAD0-9D41-A46A-A39597ACC9C8}" srcOrd="0" destOrd="0" presId="urn:microsoft.com/office/officeart/2005/8/layout/vList3"/>
    <dgm:cxn modelId="{E3F9E9A2-DD1F-184B-89BA-D0AD27FC54C3}" type="presParOf" srcId="{50898E4C-8AED-4E43-A444-B75D516C8304}" destId="{6B7FD5CD-79E6-0E4E-8DBB-5390AF8F69D9}" srcOrd="1" destOrd="0" presId="urn:microsoft.com/office/officeart/2005/8/layout/vList3"/>
    <dgm:cxn modelId="{C64EED3D-8022-B24D-9333-7BDE86E3AB29}" type="presParOf" srcId="{AA3EB9D3-E8F2-664A-A862-6B73ABE80F4E}" destId="{57CF5869-0C3B-D44B-8986-3C0D94A76A17}" srcOrd="5" destOrd="0" presId="urn:microsoft.com/office/officeart/2005/8/layout/vList3"/>
    <dgm:cxn modelId="{609027C7-F4B1-324C-A874-98147D9910F3}" type="presParOf" srcId="{AA3EB9D3-E8F2-664A-A862-6B73ABE80F4E}" destId="{E5ED4619-1DB7-F246-B1AD-B01BF1F72B3A}" srcOrd="6" destOrd="0" presId="urn:microsoft.com/office/officeart/2005/8/layout/vList3"/>
    <dgm:cxn modelId="{F16CCB15-679F-7546-986F-9206483EC4E9}" type="presParOf" srcId="{E5ED4619-1DB7-F246-B1AD-B01BF1F72B3A}" destId="{5D9A0C97-D7B8-C846-AA39-0200EEF5A414}" srcOrd="0" destOrd="0" presId="urn:microsoft.com/office/officeart/2005/8/layout/vList3"/>
    <dgm:cxn modelId="{F20BC096-2424-AA43-9BC5-E922070CE5BE}" type="presParOf" srcId="{E5ED4619-1DB7-F246-B1AD-B01BF1F72B3A}" destId="{4EAD69A2-ECC9-6D4C-BF26-148D04865A82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5A56DD4-A753-2142-B1CB-55F737840C46}" type="doc">
      <dgm:prSet loTypeId="urn:microsoft.com/office/officeart/2005/8/layout/vList3" loCatId="" qsTypeId="urn:microsoft.com/office/officeart/2005/8/quickstyle/simple1" qsCatId="simple" csTypeId="urn:microsoft.com/office/officeart/2005/8/colors/accent1_2" csCatId="accent1" phldr="1"/>
      <dgm:spPr/>
    </dgm:pt>
    <dgm:pt modelId="{F98E7EEB-5CB0-1048-8666-8B00376FBAA6}">
      <dgm:prSet phldrT="[Text]" custT="1"/>
      <dgm:spPr/>
      <dgm:t>
        <a:bodyPr/>
        <a:lstStyle/>
        <a:p>
          <a:r>
            <a:rPr lang="en-US" sz="2400" dirty="0"/>
            <a:t>Sistema de </a:t>
          </a:r>
          <a:r>
            <a:rPr lang="en-US" sz="2400" dirty="0" err="1"/>
            <a:t>información</a:t>
          </a:r>
          <a:r>
            <a:rPr lang="en-US" sz="2400" dirty="0"/>
            <a:t> </a:t>
          </a:r>
          <a:r>
            <a:rPr lang="en-US" sz="2400" dirty="0" err="1"/>
            <a:t>centrado</a:t>
          </a:r>
          <a:r>
            <a:rPr lang="en-US" sz="2400" dirty="0"/>
            <a:t> </a:t>
          </a:r>
          <a:r>
            <a:rPr lang="en-US" sz="2400" dirty="0" err="1"/>
            <a:t>en</a:t>
          </a:r>
          <a:r>
            <a:rPr lang="en-US" sz="2400" dirty="0"/>
            <a:t> la persona, no </a:t>
          </a:r>
          <a:r>
            <a:rPr lang="en-US" sz="2400" dirty="0" err="1"/>
            <a:t>en</a:t>
          </a:r>
          <a:r>
            <a:rPr lang="en-US" sz="2400" dirty="0"/>
            <a:t> las </a:t>
          </a:r>
          <a:r>
            <a:rPr lang="en-US" sz="2400" dirty="0" err="1"/>
            <a:t>derivaciones</a:t>
          </a:r>
          <a:endParaRPr lang="en-US" sz="2400" dirty="0"/>
        </a:p>
      </dgm:t>
    </dgm:pt>
    <dgm:pt modelId="{96A5F1F0-696A-3C4A-90CA-35BB73C9D5C2}" type="parTrans" cxnId="{BDE66469-9F00-A84E-B480-0F942B166221}">
      <dgm:prSet/>
      <dgm:spPr/>
      <dgm:t>
        <a:bodyPr/>
        <a:lstStyle/>
        <a:p>
          <a:endParaRPr lang="en-US"/>
        </a:p>
      </dgm:t>
    </dgm:pt>
    <dgm:pt modelId="{1E85D1D8-CCB5-6646-B1AE-939DA29FD7EB}" type="sibTrans" cxnId="{BDE66469-9F00-A84E-B480-0F942B166221}">
      <dgm:prSet/>
      <dgm:spPr/>
      <dgm:t>
        <a:bodyPr/>
        <a:lstStyle/>
        <a:p>
          <a:endParaRPr lang="en-US"/>
        </a:p>
      </dgm:t>
    </dgm:pt>
    <dgm:pt modelId="{17832E76-A885-1F40-8D8E-536543391DAE}">
      <dgm:prSet phldrT="[Text]" custT="1"/>
      <dgm:spPr/>
      <dgm:t>
        <a:bodyPr/>
        <a:lstStyle/>
        <a:p>
          <a:r>
            <a:rPr lang="en-US" sz="2400" dirty="0" err="1"/>
            <a:t>Estandarizar</a:t>
          </a:r>
          <a:r>
            <a:rPr lang="en-US" sz="2400" dirty="0"/>
            <a:t> </a:t>
          </a:r>
          <a:r>
            <a:rPr lang="en-US" sz="2400" dirty="0" err="1"/>
            <a:t>los</a:t>
          </a:r>
          <a:r>
            <a:rPr lang="en-US" sz="2400" dirty="0"/>
            <a:t> </a:t>
          </a:r>
          <a:r>
            <a:rPr lang="en-US" sz="2400" dirty="0" err="1"/>
            <a:t>datos</a:t>
          </a:r>
          <a:r>
            <a:rPr lang="en-US" sz="2400" dirty="0"/>
            <a:t>, </a:t>
          </a:r>
          <a:r>
            <a:rPr lang="en-US" sz="2400" dirty="0" err="1"/>
            <a:t>especialmente</a:t>
          </a:r>
          <a:r>
            <a:rPr lang="en-US" sz="2400" dirty="0"/>
            <a:t> </a:t>
          </a:r>
          <a:r>
            <a:rPr lang="en-US" sz="2400" dirty="0" err="1"/>
            <a:t>los</a:t>
          </a:r>
          <a:r>
            <a:rPr lang="en-US" sz="2400" dirty="0"/>
            <a:t> </a:t>
          </a:r>
          <a:r>
            <a:rPr lang="en-US" sz="2400" dirty="0" err="1"/>
            <a:t>diagnósticos</a:t>
          </a:r>
          <a:endParaRPr lang="en-US" sz="2400" dirty="0"/>
        </a:p>
      </dgm:t>
    </dgm:pt>
    <dgm:pt modelId="{056BE5EC-88D9-3742-A348-EC9B7419232D}" type="parTrans" cxnId="{3CD2EF1C-69E9-8B44-8DCC-B6255E8A4B37}">
      <dgm:prSet/>
      <dgm:spPr/>
      <dgm:t>
        <a:bodyPr/>
        <a:lstStyle/>
        <a:p>
          <a:endParaRPr lang="en-US"/>
        </a:p>
      </dgm:t>
    </dgm:pt>
    <dgm:pt modelId="{71F58381-5ADE-7042-AA4E-AF0BC2497821}" type="sibTrans" cxnId="{3CD2EF1C-69E9-8B44-8DCC-B6255E8A4B37}">
      <dgm:prSet/>
      <dgm:spPr/>
      <dgm:t>
        <a:bodyPr/>
        <a:lstStyle/>
        <a:p>
          <a:endParaRPr lang="en-US"/>
        </a:p>
      </dgm:t>
    </dgm:pt>
    <dgm:pt modelId="{C7D3B167-B3E2-8A4A-8741-987618F49CF7}">
      <dgm:prSet phldrT="[Text]" custT="1"/>
      <dgm:spPr/>
      <dgm:t>
        <a:bodyPr/>
        <a:lstStyle/>
        <a:p>
          <a:r>
            <a:rPr lang="en-US" sz="2400" dirty="0" err="1"/>
            <a:t>Generar</a:t>
          </a:r>
          <a:r>
            <a:rPr lang="en-US" sz="2400" dirty="0"/>
            <a:t> </a:t>
          </a:r>
          <a:r>
            <a:rPr lang="en-US" sz="2400" dirty="0" err="1"/>
            <a:t>información</a:t>
          </a:r>
          <a:r>
            <a:rPr lang="en-US" sz="2400" dirty="0"/>
            <a:t> de </a:t>
          </a:r>
          <a:r>
            <a:rPr lang="en-US" sz="2400" dirty="0" err="1"/>
            <a:t>monitoreo</a:t>
          </a:r>
          <a:r>
            <a:rPr lang="en-US" sz="2400" dirty="0"/>
            <a:t> y </a:t>
          </a:r>
          <a:r>
            <a:rPr lang="en-US" sz="2400" dirty="0" err="1"/>
            <a:t>evaluación</a:t>
          </a:r>
          <a:r>
            <a:rPr lang="en-US" sz="2400" dirty="0"/>
            <a:t> de </a:t>
          </a:r>
          <a:r>
            <a:rPr lang="en-US" sz="2400" dirty="0" err="1"/>
            <a:t>los</a:t>
          </a:r>
          <a:r>
            <a:rPr lang="en-US" sz="2400" dirty="0"/>
            <a:t> </a:t>
          </a:r>
          <a:r>
            <a:rPr lang="en-US" sz="2400" dirty="0" err="1"/>
            <a:t>Tiempos</a:t>
          </a:r>
          <a:r>
            <a:rPr lang="en-US" sz="2400" dirty="0"/>
            <a:t> y </a:t>
          </a:r>
          <a:r>
            <a:rPr lang="en-US" sz="2400" dirty="0" err="1"/>
            <a:t>Listas</a:t>
          </a:r>
          <a:r>
            <a:rPr lang="en-US" sz="2400" dirty="0"/>
            <a:t> de </a:t>
          </a:r>
          <a:r>
            <a:rPr lang="en-US" sz="2400" dirty="0" err="1"/>
            <a:t>Espera</a:t>
          </a:r>
          <a:endParaRPr lang="en-US" sz="2400" dirty="0"/>
        </a:p>
      </dgm:t>
    </dgm:pt>
    <dgm:pt modelId="{88E71DF7-9025-074C-AD38-19E5535F3F51}" type="parTrans" cxnId="{34FC3962-1EB8-3042-A954-71D0C872CE39}">
      <dgm:prSet/>
      <dgm:spPr/>
      <dgm:t>
        <a:bodyPr/>
        <a:lstStyle/>
        <a:p>
          <a:endParaRPr lang="en-US"/>
        </a:p>
      </dgm:t>
    </dgm:pt>
    <dgm:pt modelId="{50014505-1C99-6148-8262-9BCC2EC65F6E}" type="sibTrans" cxnId="{34FC3962-1EB8-3042-A954-71D0C872CE39}">
      <dgm:prSet/>
      <dgm:spPr/>
      <dgm:t>
        <a:bodyPr/>
        <a:lstStyle/>
        <a:p>
          <a:endParaRPr lang="en-US"/>
        </a:p>
      </dgm:t>
    </dgm:pt>
    <dgm:pt modelId="{AA3EB9D3-E8F2-664A-A862-6B73ABE80F4E}" type="pres">
      <dgm:prSet presAssocID="{D5A56DD4-A753-2142-B1CB-55F737840C46}" presName="linearFlow" presStyleCnt="0">
        <dgm:presLayoutVars>
          <dgm:dir/>
          <dgm:resizeHandles val="exact"/>
        </dgm:presLayoutVars>
      </dgm:prSet>
      <dgm:spPr/>
    </dgm:pt>
    <dgm:pt modelId="{A048EC08-4549-614C-9D12-76762B05B5A6}" type="pres">
      <dgm:prSet presAssocID="{F98E7EEB-5CB0-1048-8666-8B00376FBAA6}" presName="composite" presStyleCnt="0"/>
      <dgm:spPr/>
    </dgm:pt>
    <dgm:pt modelId="{FBC9FE48-93AD-5B4A-83FE-4D7EFB9E504D}" type="pres">
      <dgm:prSet presAssocID="{F98E7EEB-5CB0-1048-8666-8B00376FBAA6}" presName="imgShp" presStyleLbl="fgImgPlace1" presStyleIdx="0" presStyleCnt="3"/>
      <dgm:spPr/>
    </dgm:pt>
    <dgm:pt modelId="{3AB52514-6464-E14F-AA5F-D725DD92BB9C}" type="pres">
      <dgm:prSet presAssocID="{F98E7EEB-5CB0-1048-8666-8B00376FBAA6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5635A5-7CA4-EC49-B34F-5B91893188B5}" type="pres">
      <dgm:prSet presAssocID="{1E85D1D8-CCB5-6646-B1AE-939DA29FD7EB}" presName="spacing" presStyleCnt="0"/>
      <dgm:spPr/>
    </dgm:pt>
    <dgm:pt modelId="{857D9AAC-93DB-CC45-9B79-EEE823A9DB6D}" type="pres">
      <dgm:prSet presAssocID="{17832E76-A885-1F40-8D8E-536543391DAE}" presName="composite" presStyleCnt="0"/>
      <dgm:spPr/>
    </dgm:pt>
    <dgm:pt modelId="{5B3912DC-D4B6-764F-A4DB-EDDEEB496D4C}" type="pres">
      <dgm:prSet presAssocID="{17832E76-A885-1F40-8D8E-536543391DAE}" presName="imgShp" presStyleLbl="fgImgPlace1" presStyleIdx="1" presStyleCnt="3"/>
      <dgm:spPr/>
    </dgm:pt>
    <dgm:pt modelId="{87A7156D-35D2-ED4B-A5F4-D2C8FD069FB2}" type="pres">
      <dgm:prSet presAssocID="{17832E76-A885-1F40-8D8E-536543391DAE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4575DE-6429-9645-B96A-4660EA64E932}" type="pres">
      <dgm:prSet presAssocID="{71F58381-5ADE-7042-AA4E-AF0BC2497821}" presName="spacing" presStyleCnt="0"/>
      <dgm:spPr/>
    </dgm:pt>
    <dgm:pt modelId="{50898E4C-8AED-4E43-A444-B75D516C8304}" type="pres">
      <dgm:prSet presAssocID="{C7D3B167-B3E2-8A4A-8741-987618F49CF7}" presName="composite" presStyleCnt="0"/>
      <dgm:spPr/>
    </dgm:pt>
    <dgm:pt modelId="{6209284D-BAD0-9D41-A46A-A39597ACC9C8}" type="pres">
      <dgm:prSet presAssocID="{C7D3B167-B3E2-8A4A-8741-987618F49CF7}" presName="imgShp" presStyleLbl="fgImgPlace1" presStyleIdx="2" presStyleCnt="3"/>
      <dgm:spPr/>
    </dgm:pt>
    <dgm:pt modelId="{6B7FD5CD-79E6-0E4E-8DBB-5390AF8F69D9}" type="pres">
      <dgm:prSet presAssocID="{C7D3B167-B3E2-8A4A-8741-987618F49CF7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DE66469-9F00-A84E-B480-0F942B166221}" srcId="{D5A56DD4-A753-2142-B1CB-55F737840C46}" destId="{F98E7EEB-5CB0-1048-8666-8B00376FBAA6}" srcOrd="0" destOrd="0" parTransId="{96A5F1F0-696A-3C4A-90CA-35BB73C9D5C2}" sibTransId="{1E85D1D8-CCB5-6646-B1AE-939DA29FD7EB}"/>
    <dgm:cxn modelId="{F59C8C35-FB3E-1742-8D99-0F56685B74FA}" type="presOf" srcId="{C7D3B167-B3E2-8A4A-8741-987618F49CF7}" destId="{6B7FD5CD-79E6-0E4E-8DBB-5390AF8F69D9}" srcOrd="0" destOrd="0" presId="urn:microsoft.com/office/officeart/2005/8/layout/vList3"/>
    <dgm:cxn modelId="{3CD2EF1C-69E9-8B44-8DCC-B6255E8A4B37}" srcId="{D5A56DD4-A753-2142-B1CB-55F737840C46}" destId="{17832E76-A885-1F40-8D8E-536543391DAE}" srcOrd="1" destOrd="0" parTransId="{056BE5EC-88D9-3742-A348-EC9B7419232D}" sibTransId="{71F58381-5ADE-7042-AA4E-AF0BC2497821}"/>
    <dgm:cxn modelId="{003AF754-D492-E241-A828-D44D32A33AAA}" type="presOf" srcId="{D5A56DD4-A753-2142-B1CB-55F737840C46}" destId="{AA3EB9D3-E8F2-664A-A862-6B73ABE80F4E}" srcOrd="0" destOrd="0" presId="urn:microsoft.com/office/officeart/2005/8/layout/vList3"/>
    <dgm:cxn modelId="{34FC3962-1EB8-3042-A954-71D0C872CE39}" srcId="{D5A56DD4-A753-2142-B1CB-55F737840C46}" destId="{C7D3B167-B3E2-8A4A-8741-987618F49CF7}" srcOrd="2" destOrd="0" parTransId="{88E71DF7-9025-074C-AD38-19E5535F3F51}" sibTransId="{50014505-1C99-6148-8262-9BCC2EC65F6E}"/>
    <dgm:cxn modelId="{20E9FCED-2609-A342-B7FE-90852B010ADD}" type="presOf" srcId="{17832E76-A885-1F40-8D8E-536543391DAE}" destId="{87A7156D-35D2-ED4B-A5F4-D2C8FD069FB2}" srcOrd="0" destOrd="0" presId="urn:microsoft.com/office/officeart/2005/8/layout/vList3"/>
    <dgm:cxn modelId="{52EDF31B-15C8-C840-94BB-D00A9005961C}" type="presOf" srcId="{F98E7EEB-5CB0-1048-8666-8B00376FBAA6}" destId="{3AB52514-6464-E14F-AA5F-D725DD92BB9C}" srcOrd="0" destOrd="0" presId="urn:microsoft.com/office/officeart/2005/8/layout/vList3"/>
    <dgm:cxn modelId="{09E5C49C-099B-BA48-95EC-7E7E845F1AB1}" type="presParOf" srcId="{AA3EB9D3-E8F2-664A-A862-6B73ABE80F4E}" destId="{A048EC08-4549-614C-9D12-76762B05B5A6}" srcOrd="0" destOrd="0" presId="urn:microsoft.com/office/officeart/2005/8/layout/vList3"/>
    <dgm:cxn modelId="{5BDB867F-59E7-FD46-A21C-D51864D4C1FF}" type="presParOf" srcId="{A048EC08-4549-614C-9D12-76762B05B5A6}" destId="{FBC9FE48-93AD-5B4A-83FE-4D7EFB9E504D}" srcOrd="0" destOrd="0" presId="urn:microsoft.com/office/officeart/2005/8/layout/vList3"/>
    <dgm:cxn modelId="{68E781AB-F096-C647-94F1-E068507CECB4}" type="presParOf" srcId="{A048EC08-4549-614C-9D12-76762B05B5A6}" destId="{3AB52514-6464-E14F-AA5F-D725DD92BB9C}" srcOrd="1" destOrd="0" presId="urn:microsoft.com/office/officeart/2005/8/layout/vList3"/>
    <dgm:cxn modelId="{B71D876C-A62A-C946-8363-E15ABE3A24C1}" type="presParOf" srcId="{AA3EB9D3-E8F2-664A-A862-6B73ABE80F4E}" destId="{195635A5-7CA4-EC49-B34F-5B91893188B5}" srcOrd="1" destOrd="0" presId="urn:microsoft.com/office/officeart/2005/8/layout/vList3"/>
    <dgm:cxn modelId="{35AC9951-7BC6-DF4A-89A4-E7565B2A565D}" type="presParOf" srcId="{AA3EB9D3-E8F2-664A-A862-6B73ABE80F4E}" destId="{857D9AAC-93DB-CC45-9B79-EEE823A9DB6D}" srcOrd="2" destOrd="0" presId="urn:microsoft.com/office/officeart/2005/8/layout/vList3"/>
    <dgm:cxn modelId="{75AE7B04-1179-834A-9585-5394AE1DF6AE}" type="presParOf" srcId="{857D9AAC-93DB-CC45-9B79-EEE823A9DB6D}" destId="{5B3912DC-D4B6-764F-A4DB-EDDEEB496D4C}" srcOrd="0" destOrd="0" presId="urn:microsoft.com/office/officeart/2005/8/layout/vList3"/>
    <dgm:cxn modelId="{245DE55C-9864-AA4D-9FC3-71C90B9325EC}" type="presParOf" srcId="{857D9AAC-93DB-CC45-9B79-EEE823A9DB6D}" destId="{87A7156D-35D2-ED4B-A5F4-D2C8FD069FB2}" srcOrd="1" destOrd="0" presId="urn:microsoft.com/office/officeart/2005/8/layout/vList3"/>
    <dgm:cxn modelId="{9C182A4F-6E6B-6446-9437-02F2E1094A16}" type="presParOf" srcId="{AA3EB9D3-E8F2-664A-A862-6B73ABE80F4E}" destId="{DC4575DE-6429-9645-B96A-4660EA64E932}" srcOrd="3" destOrd="0" presId="urn:microsoft.com/office/officeart/2005/8/layout/vList3"/>
    <dgm:cxn modelId="{9346E9C9-31BC-5B41-9079-3C137950FBEA}" type="presParOf" srcId="{AA3EB9D3-E8F2-664A-A862-6B73ABE80F4E}" destId="{50898E4C-8AED-4E43-A444-B75D516C8304}" srcOrd="4" destOrd="0" presId="urn:microsoft.com/office/officeart/2005/8/layout/vList3"/>
    <dgm:cxn modelId="{55B782E3-31CF-6E48-A2B9-B54AADEC2FBD}" type="presParOf" srcId="{50898E4C-8AED-4E43-A444-B75D516C8304}" destId="{6209284D-BAD0-9D41-A46A-A39597ACC9C8}" srcOrd="0" destOrd="0" presId="urn:microsoft.com/office/officeart/2005/8/layout/vList3"/>
    <dgm:cxn modelId="{E3F9E9A2-DD1F-184B-89BA-D0AD27FC54C3}" type="presParOf" srcId="{50898E4C-8AED-4E43-A444-B75D516C8304}" destId="{6B7FD5CD-79E6-0E4E-8DBB-5390AF8F69D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5A56DD4-A753-2142-B1CB-55F737840C46}" type="doc">
      <dgm:prSet loTypeId="urn:microsoft.com/office/officeart/2005/8/layout/vList3" loCatId="" qsTypeId="urn:microsoft.com/office/officeart/2005/8/quickstyle/simple1" qsCatId="simple" csTypeId="urn:microsoft.com/office/officeart/2005/8/colors/accent1_2" csCatId="accent1" phldr="1"/>
      <dgm:spPr/>
    </dgm:pt>
    <dgm:pt modelId="{F98E7EEB-5CB0-1048-8666-8B00376FBAA6}">
      <dgm:prSet phldrT="[Text]" custT="1"/>
      <dgm:spPr/>
      <dgm:t>
        <a:bodyPr/>
        <a:lstStyle/>
        <a:p>
          <a:r>
            <a:rPr lang="en-US" sz="2000" dirty="0" err="1"/>
            <a:t>Desarrollar</a:t>
          </a:r>
          <a:r>
            <a:rPr lang="en-US" sz="2000" dirty="0"/>
            <a:t> un </a:t>
          </a:r>
          <a:r>
            <a:rPr lang="en-US" sz="2000" dirty="0" err="1"/>
            <a:t>modelo</a:t>
          </a:r>
          <a:r>
            <a:rPr lang="en-US" sz="2000" dirty="0"/>
            <a:t> de </a:t>
          </a:r>
          <a:r>
            <a:rPr lang="en-US" sz="2000" dirty="0" err="1"/>
            <a:t>priorización</a:t>
          </a:r>
          <a:r>
            <a:rPr lang="en-US" sz="2000" dirty="0"/>
            <a:t> para </a:t>
          </a:r>
          <a:r>
            <a:rPr lang="en-US" sz="2000" dirty="0" err="1"/>
            <a:t>calificar</a:t>
          </a:r>
          <a:r>
            <a:rPr lang="en-US" sz="2000" dirty="0"/>
            <a:t> </a:t>
          </a:r>
          <a:r>
            <a:rPr lang="en-US" sz="2000" dirty="0" err="1"/>
            <a:t>riesgo</a:t>
          </a:r>
          <a:r>
            <a:rPr lang="en-US" sz="2000" dirty="0"/>
            <a:t> de </a:t>
          </a:r>
          <a:r>
            <a:rPr lang="en-US" sz="2000" dirty="0" err="1"/>
            <a:t>cada</a:t>
          </a:r>
          <a:r>
            <a:rPr lang="en-US" sz="2000" dirty="0"/>
            <a:t> persona</a:t>
          </a:r>
        </a:p>
      </dgm:t>
    </dgm:pt>
    <dgm:pt modelId="{96A5F1F0-696A-3C4A-90CA-35BB73C9D5C2}" type="parTrans" cxnId="{BDE66469-9F00-A84E-B480-0F942B166221}">
      <dgm:prSet/>
      <dgm:spPr/>
      <dgm:t>
        <a:bodyPr/>
        <a:lstStyle/>
        <a:p>
          <a:endParaRPr lang="en-US"/>
        </a:p>
      </dgm:t>
    </dgm:pt>
    <dgm:pt modelId="{1E85D1D8-CCB5-6646-B1AE-939DA29FD7EB}" type="sibTrans" cxnId="{BDE66469-9F00-A84E-B480-0F942B166221}">
      <dgm:prSet/>
      <dgm:spPr/>
      <dgm:t>
        <a:bodyPr/>
        <a:lstStyle/>
        <a:p>
          <a:endParaRPr lang="en-US"/>
        </a:p>
      </dgm:t>
    </dgm:pt>
    <dgm:pt modelId="{17832E76-A885-1F40-8D8E-536543391DAE}">
      <dgm:prSet phldrT="[Text]" custT="1"/>
      <dgm:spPr/>
      <dgm:t>
        <a:bodyPr/>
        <a:lstStyle/>
        <a:p>
          <a:r>
            <a:rPr lang="en-US" sz="2000" dirty="0" err="1"/>
            <a:t>Organizar</a:t>
          </a:r>
          <a:r>
            <a:rPr lang="en-US" sz="2000" dirty="0"/>
            <a:t> </a:t>
          </a:r>
          <a:r>
            <a:rPr lang="en-US" sz="2000" dirty="0" err="1"/>
            <a:t>población</a:t>
          </a:r>
          <a:r>
            <a:rPr lang="en-US" sz="2000" dirty="0"/>
            <a:t> </a:t>
          </a:r>
          <a:r>
            <a:rPr lang="en-US" sz="2000" dirty="0" err="1"/>
            <a:t>según</a:t>
          </a:r>
          <a:r>
            <a:rPr lang="en-US" sz="2000" dirty="0"/>
            <a:t> </a:t>
          </a:r>
          <a:r>
            <a:rPr lang="en-US" sz="2000" dirty="0" err="1"/>
            <a:t>riesgo</a:t>
          </a:r>
          <a:r>
            <a:rPr lang="en-US" sz="2000" dirty="0"/>
            <a:t> y </a:t>
          </a:r>
          <a:r>
            <a:rPr lang="en-US" sz="2000" dirty="0" err="1"/>
            <a:t>complejidad</a:t>
          </a:r>
          <a:r>
            <a:rPr lang="en-US" sz="2000" dirty="0"/>
            <a:t> de </a:t>
          </a:r>
          <a:r>
            <a:rPr lang="en-US" sz="2000" dirty="0" err="1"/>
            <a:t>atención</a:t>
          </a:r>
          <a:r>
            <a:rPr lang="en-US" sz="2000" dirty="0"/>
            <a:t> (</a:t>
          </a:r>
          <a:r>
            <a:rPr lang="en-US" sz="2000" dirty="0" err="1"/>
            <a:t>criterios</a:t>
          </a:r>
          <a:r>
            <a:rPr lang="en-US" sz="2000" dirty="0"/>
            <a:t> de </a:t>
          </a:r>
          <a:r>
            <a:rPr lang="en-US" sz="2000" dirty="0" err="1"/>
            <a:t>priorización</a:t>
          </a:r>
          <a:r>
            <a:rPr lang="en-US" sz="2000" dirty="0"/>
            <a:t>)</a:t>
          </a:r>
        </a:p>
      </dgm:t>
    </dgm:pt>
    <dgm:pt modelId="{056BE5EC-88D9-3742-A348-EC9B7419232D}" type="parTrans" cxnId="{3CD2EF1C-69E9-8B44-8DCC-B6255E8A4B37}">
      <dgm:prSet/>
      <dgm:spPr/>
      <dgm:t>
        <a:bodyPr/>
        <a:lstStyle/>
        <a:p>
          <a:endParaRPr lang="en-US"/>
        </a:p>
      </dgm:t>
    </dgm:pt>
    <dgm:pt modelId="{71F58381-5ADE-7042-AA4E-AF0BC2497821}" type="sibTrans" cxnId="{3CD2EF1C-69E9-8B44-8DCC-B6255E8A4B37}">
      <dgm:prSet/>
      <dgm:spPr/>
      <dgm:t>
        <a:bodyPr/>
        <a:lstStyle/>
        <a:p>
          <a:endParaRPr lang="en-US"/>
        </a:p>
      </dgm:t>
    </dgm:pt>
    <dgm:pt modelId="{C7D3B167-B3E2-8A4A-8741-987618F49CF7}">
      <dgm:prSet phldrT="[Text]" custT="1"/>
      <dgm:spPr/>
      <dgm:t>
        <a:bodyPr/>
        <a:lstStyle/>
        <a:p>
          <a:r>
            <a:rPr lang="en-US" sz="2000" dirty="0" err="1"/>
            <a:t>Vincular</a:t>
          </a:r>
          <a:r>
            <a:rPr lang="en-US" sz="2000" baseline="0" dirty="0"/>
            <a:t> Sistema de </a:t>
          </a:r>
          <a:r>
            <a:rPr lang="en-US" sz="2000" baseline="0" dirty="0" err="1"/>
            <a:t>información</a:t>
          </a:r>
          <a:r>
            <a:rPr lang="en-US" sz="2000" baseline="0" dirty="0"/>
            <a:t> de LE y </a:t>
          </a:r>
          <a:r>
            <a:rPr lang="en-US" sz="2000" baseline="0" dirty="0" err="1"/>
            <a:t>tiempos</a:t>
          </a:r>
          <a:r>
            <a:rPr lang="en-US" sz="2000" baseline="0" dirty="0"/>
            <a:t> de </a:t>
          </a:r>
          <a:r>
            <a:rPr lang="en-US" sz="2000" baseline="0" dirty="0" err="1"/>
            <a:t>espera</a:t>
          </a:r>
          <a:r>
            <a:rPr lang="en-US" sz="2000" baseline="0" dirty="0"/>
            <a:t> con </a:t>
          </a:r>
          <a:r>
            <a:rPr lang="en-US" sz="2000" baseline="0" dirty="0" err="1"/>
            <a:t>otros</a:t>
          </a:r>
          <a:r>
            <a:rPr lang="en-US" sz="2000" baseline="0" dirty="0"/>
            <a:t> </a:t>
          </a:r>
          <a:r>
            <a:rPr lang="en-US" sz="2000" baseline="0" dirty="0" err="1"/>
            <a:t>sistemas</a:t>
          </a:r>
          <a:r>
            <a:rPr lang="en-US" sz="2000" baseline="0" dirty="0"/>
            <a:t> de </a:t>
          </a:r>
          <a:r>
            <a:rPr lang="en-US" sz="2000" baseline="0" dirty="0" err="1"/>
            <a:t>información</a:t>
          </a:r>
          <a:endParaRPr lang="en-US" sz="2000" dirty="0"/>
        </a:p>
      </dgm:t>
    </dgm:pt>
    <dgm:pt modelId="{88E71DF7-9025-074C-AD38-19E5535F3F51}" type="parTrans" cxnId="{34FC3962-1EB8-3042-A954-71D0C872CE39}">
      <dgm:prSet/>
      <dgm:spPr/>
      <dgm:t>
        <a:bodyPr/>
        <a:lstStyle/>
        <a:p>
          <a:endParaRPr lang="en-US"/>
        </a:p>
      </dgm:t>
    </dgm:pt>
    <dgm:pt modelId="{50014505-1C99-6148-8262-9BCC2EC65F6E}" type="sibTrans" cxnId="{34FC3962-1EB8-3042-A954-71D0C872CE39}">
      <dgm:prSet/>
      <dgm:spPr/>
      <dgm:t>
        <a:bodyPr/>
        <a:lstStyle/>
        <a:p>
          <a:endParaRPr lang="en-US"/>
        </a:p>
      </dgm:t>
    </dgm:pt>
    <dgm:pt modelId="{41DFA011-2366-8A41-A464-7381886800DF}">
      <dgm:prSet/>
      <dgm:spPr/>
      <dgm:t>
        <a:bodyPr/>
        <a:lstStyle/>
        <a:p>
          <a:r>
            <a:rPr lang="en-US" dirty="0" err="1"/>
            <a:t>Generar</a:t>
          </a:r>
          <a:r>
            <a:rPr lang="en-US" dirty="0"/>
            <a:t> </a:t>
          </a:r>
          <a:r>
            <a:rPr lang="en-US" dirty="0" err="1"/>
            <a:t>indicadores</a:t>
          </a:r>
          <a:r>
            <a:rPr lang="en-US" dirty="0"/>
            <a:t> para </a:t>
          </a:r>
          <a:r>
            <a:rPr lang="en-US" dirty="0" err="1"/>
            <a:t>monitorear</a:t>
          </a:r>
          <a:r>
            <a:rPr lang="en-US" dirty="0"/>
            <a:t> las </a:t>
          </a:r>
          <a:r>
            <a:rPr lang="en-US" dirty="0" err="1"/>
            <a:t>esperas</a:t>
          </a:r>
          <a:r>
            <a:rPr lang="en-US" dirty="0"/>
            <a:t> </a:t>
          </a:r>
          <a:r>
            <a:rPr lang="en-US" dirty="0" err="1"/>
            <a:t>en</a:t>
          </a:r>
          <a:r>
            <a:rPr lang="en-US" dirty="0"/>
            <a:t> el </a:t>
          </a:r>
          <a:r>
            <a:rPr lang="en-US" dirty="0" err="1"/>
            <a:t>tiempo</a:t>
          </a:r>
          <a:r>
            <a:rPr lang="en-US" dirty="0"/>
            <a:t> e </a:t>
          </a:r>
          <a:r>
            <a:rPr lang="en-US" dirty="0" err="1"/>
            <a:t>identificar</a:t>
          </a:r>
          <a:r>
            <a:rPr lang="en-US" dirty="0"/>
            <a:t> </a:t>
          </a:r>
          <a:r>
            <a:rPr lang="en-US" dirty="0" err="1"/>
            <a:t>pacientes</a:t>
          </a:r>
          <a:r>
            <a:rPr lang="en-US" dirty="0"/>
            <a:t> </a:t>
          </a:r>
          <a:r>
            <a:rPr lang="en-US" dirty="0" err="1"/>
            <a:t>críticos</a:t>
          </a:r>
          <a:endParaRPr lang="en-US" dirty="0"/>
        </a:p>
      </dgm:t>
    </dgm:pt>
    <dgm:pt modelId="{DC9FE151-1D2D-2840-B882-CD30E838B368}" type="parTrans" cxnId="{7923C7DC-6772-BF47-BDB3-6198C75EFD1F}">
      <dgm:prSet/>
      <dgm:spPr/>
    </dgm:pt>
    <dgm:pt modelId="{B6E2499B-6E98-1E41-ACC1-AADA8AF53B34}" type="sibTrans" cxnId="{7923C7DC-6772-BF47-BDB3-6198C75EFD1F}">
      <dgm:prSet/>
      <dgm:spPr/>
    </dgm:pt>
    <dgm:pt modelId="{AA3EB9D3-E8F2-664A-A862-6B73ABE80F4E}" type="pres">
      <dgm:prSet presAssocID="{D5A56DD4-A753-2142-B1CB-55F737840C46}" presName="linearFlow" presStyleCnt="0">
        <dgm:presLayoutVars>
          <dgm:dir/>
          <dgm:resizeHandles val="exact"/>
        </dgm:presLayoutVars>
      </dgm:prSet>
      <dgm:spPr/>
    </dgm:pt>
    <dgm:pt modelId="{A048EC08-4549-614C-9D12-76762B05B5A6}" type="pres">
      <dgm:prSet presAssocID="{F98E7EEB-5CB0-1048-8666-8B00376FBAA6}" presName="composite" presStyleCnt="0"/>
      <dgm:spPr/>
    </dgm:pt>
    <dgm:pt modelId="{FBC9FE48-93AD-5B4A-83FE-4D7EFB9E504D}" type="pres">
      <dgm:prSet presAssocID="{F98E7EEB-5CB0-1048-8666-8B00376FBAA6}" presName="imgShp" presStyleLbl="fgImgPlace1" presStyleIdx="0" presStyleCnt="4"/>
      <dgm:spPr/>
    </dgm:pt>
    <dgm:pt modelId="{3AB52514-6464-E14F-AA5F-D725DD92BB9C}" type="pres">
      <dgm:prSet presAssocID="{F98E7EEB-5CB0-1048-8666-8B00376FBAA6}" presName="tx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95635A5-7CA4-EC49-B34F-5B91893188B5}" type="pres">
      <dgm:prSet presAssocID="{1E85D1D8-CCB5-6646-B1AE-939DA29FD7EB}" presName="spacing" presStyleCnt="0"/>
      <dgm:spPr/>
    </dgm:pt>
    <dgm:pt modelId="{857D9AAC-93DB-CC45-9B79-EEE823A9DB6D}" type="pres">
      <dgm:prSet presAssocID="{17832E76-A885-1F40-8D8E-536543391DAE}" presName="composite" presStyleCnt="0"/>
      <dgm:spPr/>
    </dgm:pt>
    <dgm:pt modelId="{5B3912DC-D4B6-764F-A4DB-EDDEEB496D4C}" type="pres">
      <dgm:prSet presAssocID="{17832E76-A885-1F40-8D8E-536543391DAE}" presName="imgShp" presStyleLbl="fgImgPlace1" presStyleIdx="1" presStyleCnt="4"/>
      <dgm:spPr/>
    </dgm:pt>
    <dgm:pt modelId="{87A7156D-35D2-ED4B-A5F4-D2C8FD069FB2}" type="pres">
      <dgm:prSet presAssocID="{17832E76-A885-1F40-8D8E-536543391DAE}" presName="tx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C4575DE-6429-9645-B96A-4660EA64E932}" type="pres">
      <dgm:prSet presAssocID="{71F58381-5ADE-7042-AA4E-AF0BC2497821}" presName="spacing" presStyleCnt="0"/>
      <dgm:spPr/>
    </dgm:pt>
    <dgm:pt modelId="{50898E4C-8AED-4E43-A444-B75D516C8304}" type="pres">
      <dgm:prSet presAssocID="{C7D3B167-B3E2-8A4A-8741-987618F49CF7}" presName="composite" presStyleCnt="0"/>
      <dgm:spPr/>
    </dgm:pt>
    <dgm:pt modelId="{6209284D-BAD0-9D41-A46A-A39597ACC9C8}" type="pres">
      <dgm:prSet presAssocID="{C7D3B167-B3E2-8A4A-8741-987618F49CF7}" presName="imgShp" presStyleLbl="fgImgPlace1" presStyleIdx="2" presStyleCnt="4"/>
      <dgm:spPr/>
    </dgm:pt>
    <dgm:pt modelId="{6B7FD5CD-79E6-0E4E-8DBB-5390AF8F69D9}" type="pres">
      <dgm:prSet presAssocID="{C7D3B167-B3E2-8A4A-8741-987618F49CF7}" presName="tx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537EFC5-9F20-0F41-8847-F830844C57E7}" type="pres">
      <dgm:prSet presAssocID="{50014505-1C99-6148-8262-9BCC2EC65F6E}" presName="spacing" presStyleCnt="0"/>
      <dgm:spPr/>
    </dgm:pt>
    <dgm:pt modelId="{F1A8CA9B-EBFC-374F-98AD-A621E9D78BAC}" type="pres">
      <dgm:prSet presAssocID="{41DFA011-2366-8A41-A464-7381886800DF}" presName="composite" presStyleCnt="0"/>
      <dgm:spPr/>
    </dgm:pt>
    <dgm:pt modelId="{A86BF4F9-AA64-5E4E-B3E1-837C48F4C502}" type="pres">
      <dgm:prSet presAssocID="{41DFA011-2366-8A41-A464-7381886800DF}" presName="imgShp" presStyleLbl="fgImgPlace1" presStyleIdx="3" presStyleCnt="4"/>
      <dgm:spPr/>
    </dgm:pt>
    <dgm:pt modelId="{50201069-613D-164D-8475-FC63311BCBB9}" type="pres">
      <dgm:prSet presAssocID="{41DFA011-2366-8A41-A464-7381886800DF}" presName="tx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4FC3962-1EB8-3042-A954-71D0C872CE39}" srcId="{D5A56DD4-A753-2142-B1CB-55F737840C46}" destId="{C7D3B167-B3E2-8A4A-8741-987618F49CF7}" srcOrd="2" destOrd="0" parTransId="{88E71DF7-9025-074C-AD38-19E5535F3F51}" sibTransId="{50014505-1C99-6148-8262-9BCC2EC65F6E}"/>
    <dgm:cxn modelId="{59F2B366-94BC-A143-A37A-7182400D3233}" type="presOf" srcId="{41DFA011-2366-8A41-A464-7381886800DF}" destId="{50201069-613D-164D-8475-FC63311BCBB9}" srcOrd="0" destOrd="0" presId="urn:microsoft.com/office/officeart/2005/8/layout/vList3"/>
    <dgm:cxn modelId="{003AF754-D492-E241-A828-D44D32A33AAA}" type="presOf" srcId="{D5A56DD4-A753-2142-B1CB-55F737840C46}" destId="{AA3EB9D3-E8F2-664A-A862-6B73ABE80F4E}" srcOrd="0" destOrd="0" presId="urn:microsoft.com/office/officeart/2005/8/layout/vList3"/>
    <dgm:cxn modelId="{7923C7DC-6772-BF47-BDB3-6198C75EFD1F}" srcId="{D5A56DD4-A753-2142-B1CB-55F737840C46}" destId="{41DFA011-2366-8A41-A464-7381886800DF}" srcOrd="3" destOrd="0" parTransId="{DC9FE151-1D2D-2840-B882-CD30E838B368}" sibTransId="{B6E2499B-6E98-1E41-ACC1-AADA8AF53B34}"/>
    <dgm:cxn modelId="{52EDF31B-15C8-C840-94BB-D00A9005961C}" type="presOf" srcId="{F98E7EEB-5CB0-1048-8666-8B00376FBAA6}" destId="{3AB52514-6464-E14F-AA5F-D725DD92BB9C}" srcOrd="0" destOrd="0" presId="urn:microsoft.com/office/officeart/2005/8/layout/vList3"/>
    <dgm:cxn modelId="{3CD2EF1C-69E9-8B44-8DCC-B6255E8A4B37}" srcId="{D5A56DD4-A753-2142-B1CB-55F737840C46}" destId="{17832E76-A885-1F40-8D8E-536543391DAE}" srcOrd="1" destOrd="0" parTransId="{056BE5EC-88D9-3742-A348-EC9B7419232D}" sibTransId="{71F58381-5ADE-7042-AA4E-AF0BC2497821}"/>
    <dgm:cxn modelId="{20E9FCED-2609-A342-B7FE-90852B010ADD}" type="presOf" srcId="{17832E76-A885-1F40-8D8E-536543391DAE}" destId="{87A7156D-35D2-ED4B-A5F4-D2C8FD069FB2}" srcOrd="0" destOrd="0" presId="urn:microsoft.com/office/officeart/2005/8/layout/vList3"/>
    <dgm:cxn modelId="{F59C8C35-FB3E-1742-8D99-0F56685B74FA}" type="presOf" srcId="{C7D3B167-B3E2-8A4A-8741-987618F49CF7}" destId="{6B7FD5CD-79E6-0E4E-8DBB-5390AF8F69D9}" srcOrd="0" destOrd="0" presId="urn:microsoft.com/office/officeart/2005/8/layout/vList3"/>
    <dgm:cxn modelId="{BDE66469-9F00-A84E-B480-0F942B166221}" srcId="{D5A56DD4-A753-2142-B1CB-55F737840C46}" destId="{F98E7EEB-5CB0-1048-8666-8B00376FBAA6}" srcOrd="0" destOrd="0" parTransId="{96A5F1F0-696A-3C4A-90CA-35BB73C9D5C2}" sibTransId="{1E85D1D8-CCB5-6646-B1AE-939DA29FD7EB}"/>
    <dgm:cxn modelId="{09E5C49C-099B-BA48-95EC-7E7E845F1AB1}" type="presParOf" srcId="{AA3EB9D3-E8F2-664A-A862-6B73ABE80F4E}" destId="{A048EC08-4549-614C-9D12-76762B05B5A6}" srcOrd="0" destOrd="0" presId="urn:microsoft.com/office/officeart/2005/8/layout/vList3"/>
    <dgm:cxn modelId="{5BDB867F-59E7-FD46-A21C-D51864D4C1FF}" type="presParOf" srcId="{A048EC08-4549-614C-9D12-76762B05B5A6}" destId="{FBC9FE48-93AD-5B4A-83FE-4D7EFB9E504D}" srcOrd="0" destOrd="0" presId="urn:microsoft.com/office/officeart/2005/8/layout/vList3"/>
    <dgm:cxn modelId="{68E781AB-F096-C647-94F1-E068507CECB4}" type="presParOf" srcId="{A048EC08-4549-614C-9D12-76762B05B5A6}" destId="{3AB52514-6464-E14F-AA5F-D725DD92BB9C}" srcOrd="1" destOrd="0" presId="urn:microsoft.com/office/officeart/2005/8/layout/vList3"/>
    <dgm:cxn modelId="{B71D876C-A62A-C946-8363-E15ABE3A24C1}" type="presParOf" srcId="{AA3EB9D3-E8F2-664A-A862-6B73ABE80F4E}" destId="{195635A5-7CA4-EC49-B34F-5B91893188B5}" srcOrd="1" destOrd="0" presId="urn:microsoft.com/office/officeart/2005/8/layout/vList3"/>
    <dgm:cxn modelId="{35AC9951-7BC6-DF4A-89A4-E7565B2A565D}" type="presParOf" srcId="{AA3EB9D3-E8F2-664A-A862-6B73ABE80F4E}" destId="{857D9AAC-93DB-CC45-9B79-EEE823A9DB6D}" srcOrd="2" destOrd="0" presId="urn:microsoft.com/office/officeart/2005/8/layout/vList3"/>
    <dgm:cxn modelId="{75AE7B04-1179-834A-9585-5394AE1DF6AE}" type="presParOf" srcId="{857D9AAC-93DB-CC45-9B79-EEE823A9DB6D}" destId="{5B3912DC-D4B6-764F-A4DB-EDDEEB496D4C}" srcOrd="0" destOrd="0" presId="urn:microsoft.com/office/officeart/2005/8/layout/vList3"/>
    <dgm:cxn modelId="{245DE55C-9864-AA4D-9FC3-71C90B9325EC}" type="presParOf" srcId="{857D9AAC-93DB-CC45-9B79-EEE823A9DB6D}" destId="{87A7156D-35D2-ED4B-A5F4-D2C8FD069FB2}" srcOrd="1" destOrd="0" presId="urn:microsoft.com/office/officeart/2005/8/layout/vList3"/>
    <dgm:cxn modelId="{9C182A4F-6E6B-6446-9437-02F2E1094A16}" type="presParOf" srcId="{AA3EB9D3-E8F2-664A-A862-6B73ABE80F4E}" destId="{DC4575DE-6429-9645-B96A-4660EA64E932}" srcOrd="3" destOrd="0" presId="urn:microsoft.com/office/officeart/2005/8/layout/vList3"/>
    <dgm:cxn modelId="{9346E9C9-31BC-5B41-9079-3C137950FBEA}" type="presParOf" srcId="{AA3EB9D3-E8F2-664A-A862-6B73ABE80F4E}" destId="{50898E4C-8AED-4E43-A444-B75D516C8304}" srcOrd="4" destOrd="0" presId="urn:microsoft.com/office/officeart/2005/8/layout/vList3"/>
    <dgm:cxn modelId="{55B782E3-31CF-6E48-A2B9-B54AADEC2FBD}" type="presParOf" srcId="{50898E4C-8AED-4E43-A444-B75D516C8304}" destId="{6209284D-BAD0-9D41-A46A-A39597ACC9C8}" srcOrd="0" destOrd="0" presId="urn:microsoft.com/office/officeart/2005/8/layout/vList3"/>
    <dgm:cxn modelId="{E3F9E9A2-DD1F-184B-89BA-D0AD27FC54C3}" type="presParOf" srcId="{50898E4C-8AED-4E43-A444-B75D516C8304}" destId="{6B7FD5CD-79E6-0E4E-8DBB-5390AF8F69D9}" srcOrd="1" destOrd="0" presId="urn:microsoft.com/office/officeart/2005/8/layout/vList3"/>
    <dgm:cxn modelId="{84DC4ADF-3174-AF4C-B2B5-FCF97709AC84}" type="presParOf" srcId="{AA3EB9D3-E8F2-664A-A862-6B73ABE80F4E}" destId="{A537EFC5-9F20-0F41-8847-F830844C57E7}" srcOrd="5" destOrd="0" presId="urn:microsoft.com/office/officeart/2005/8/layout/vList3"/>
    <dgm:cxn modelId="{E1BEAE9B-6955-D847-9658-CC0A0DE0C103}" type="presParOf" srcId="{AA3EB9D3-E8F2-664A-A862-6B73ABE80F4E}" destId="{F1A8CA9B-EBFC-374F-98AD-A621E9D78BAC}" srcOrd="6" destOrd="0" presId="urn:microsoft.com/office/officeart/2005/8/layout/vList3"/>
    <dgm:cxn modelId="{E63F7FBF-6F06-B346-A871-2C7FF849A484}" type="presParOf" srcId="{F1A8CA9B-EBFC-374F-98AD-A621E9D78BAC}" destId="{A86BF4F9-AA64-5E4E-B3E1-837C48F4C502}" srcOrd="0" destOrd="0" presId="urn:microsoft.com/office/officeart/2005/8/layout/vList3"/>
    <dgm:cxn modelId="{6416B5D7-FB9B-5140-860D-7EBF1A4B3141}" type="presParOf" srcId="{F1A8CA9B-EBFC-374F-98AD-A621E9D78BAC}" destId="{50201069-613D-164D-8475-FC63311BCBB9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8F46820-6196-1644-8FF2-2FFBC227FF80}" type="doc">
      <dgm:prSet loTypeId="urn:microsoft.com/office/officeart/2005/8/layout/hProcess11" loCatId="" qsTypeId="urn:microsoft.com/office/officeart/2005/8/quickstyle/3D2" qsCatId="3D" csTypeId="urn:microsoft.com/office/officeart/2005/8/colors/accent2_2" csCatId="accent2" phldr="1"/>
      <dgm:spPr/>
    </dgm:pt>
    <dgm:pt modelId="{6E91A646-9730-7148-937B-B62CCC633B33}">
      <dgm:prSet phldrT="[Text]" custT="1"/>
      <dgm:spPr/>
      <dgm:t>
        <a:bodyPr/>
        <a:lstStyle/>
        <a:p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L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e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nuev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sistema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informaci</a:t>
          </a:r>
          <a:r>
            <a:rPr lang="es-E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sde los SS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gm:t>
    </dgm:pt>
    <dgm:pt modelId="{5C2C3C85-F37D-2246-80E5-87E743B4AC61}" type="parTrans" cxnId="{112DE0B6-831F-7E42-BE2F-A4A516485C16}">
      <dgm:prSet/>
      <dgm:spPr/>
      <dgm:t>
        <a:bodyPr/>
        <a:lstStyle/>
        <a:p>
          <a:endParaRPr lang="en-US"/>
        </a:p>
      </dgm:t>
    </dgm:pt>
    <dgm:pt modelId="{5A76B3E0-2A4C-F34E-A604-8E1A953761CB}" type="sibTrans" cxnId="{112DE0B6-831F-7E42-BE2F-A4A516485C16}">
      <dgm:prSet/>
      <dgm:spPr/>
      <dgm:t>
        <a:bodyPr/>
        <a:lstStyle/>
        <a:p>
          <a:endParaRPr lang="en-US"/>
        </a:p>
      </dgm:t>
    </dgm:pt>
    <dgm:pt modelId="{394F42DA-45C4-594B-886A-A55002717E8B}">
      <dgm:prSet phldrT="[Text]" custT="1"/>
      <dgm:spPr/>
      <dgm:t>
        <a:bodyPr/>
        <a:lstStyle/>
        <a:p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Regla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validaci</a:t>
          </a:r>
          <a:r>
            <a:rPr lang="es-E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automáticas al ingreso de cada registro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gm:t>
    </dgm:pt>
    <dgm:pt modelId="{50BF2813-8D3C-844A-88B2-65A6FE1B853B}" type="parTrans" cxnId="{12CDD7F6-AA8A-6041-82F6-1D73985EF082}">
      <dgm:prSet/>
      <dgm:spPr/>
      <dgm:t>
        <a:bodyPr/>
        <a:lstStyle/>
        <a:p>
          <a:endParaRPr lang="en-US"/>
        </a:p>
      </dgm:t>
    </dgm:pt>
    <dgm:pt modelId="{A4BC142C-EB8A-FC4E-9F52-180D805C3FFF}" type="sibTrans" cxnId="{12CDD7F6-AA8A-6041-82F6-1D73985EF082}">
      <dgm:prSet/>
      <dgm:spPr/>
      <dgm:t>
        <a:bodyPr/>
        <a:lstStyle/>
        <a:p>
          <a:endParaRPr lang="en-US"/>
        </a:p>
      </dgm:t>
    </dgm:pt>
    <dgm:pt modelId="{31E5D37D-F317-D843-9AF5-B22496362FE5}">
      <dgm:prSet phldrT="[Text]" custT="1"/>
      <dgm:spPr/>
      <dgm:t>
        <a:bodyPr/>
        <a:lstStyle/>
        <a:p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Indicadores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para la </a:t>
          </a:r>
          <a:r>
            <a:rPr lang="en-US" sz="2000" b="1" baseline="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gesti</a:t>
          </a:r>
          <a:r>
            <a:rPr lang="es-ES" sz="2000" b="1" baseline="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 la LE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gm:t>
    </dgm:pt>
    <dgm:pt modelId="{3D8CBF47-8569-214C-896E-DA3FD7FF5696}" type="parTrans" cxnId="{F1E05336-24FD-8A43-AE52-2CD037900752}">
      <dgm:prSet/>
      <dgm:spPr/>
      <dgm:t>
        <a:bodyPr/>
        <a:lstStyle/>
        <a:p>
          <a:endParaRPr lang="en-US"/>
        </a:p>
      </dgm:t>
    </dgm:pt>
    <dgm:pt modelId="{0E2227D0-1827-2540-8501-DDF24CB87FB5}" type="sibTrans" cxnId="{F1E05336-24FD-8A43-AE52-2CD037900752}">
      <dgm:prSet/>
      <dgm:spPr/>
      <dgm:t>
        <a:bodyPr/>
        <a:lstStyle/>
        <a:p>
          <a:endParaRPr lang="en-US"/>
        </a:p>
      </dgm:t>
    </dgm:pt>
    <dgm:pt modelId="{69871FC2-699D-834F-8CD4-52990B058E6F}">
      <dgm:prSet custT="1"/>
      <dgm:spPr/>
      <dgm:t>
        <a:bodyPr/>
        <a:lstStyle/>
        <a:p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Seguridad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e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el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acces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a LE</a:t>
          </a:r>
        </a:p>
      </dgm:t>
    </dgm:pt>
    <dgm:pt modelId="{1A01101D-E528-F94C-B1D9-4B181E1B9579}" type="parTrans" cxnId="{C72D37FC-C423-3849-BF53-94F401F2B9C7}">
      <dgm:prSet/>
      <dgm:spPr/>
      <dgm:t>
        <a:bodyPr/>
        <a:lstStyle/>
        <a:p>
          <a:endParaRPr lang="en-US"/>
        </a:p>
      </dgm:t>
    </dgm:pt>
    <dgm:pt modelId="{7CB9D0B4-6359-BE42-9396-38E9C9B38CB9}" type="sibTrans" cxnId="{C72D37FC-C423-3849-BF53-94F401F2B9C7}">
      <dgm:prSet/>
      <dgm:spPr/>
      <dgm:t>
        <a:bodyPr/>
        <a:lstStyle/>
        <a:p>
          <a:endParaRPr lang="en-US"/>
        </a:p>
      </dgm:t>
    </dgm:pt>
    <dgm:pt modelId="{212986BA-4996-FC4F-9FEB-B5A95BB9D315}">
      <dgm:prSet custT="1"/>
      <dgm:spPr/>
      <dgm:t>
        <a:bodyPr/>
        <a:lstStyle/>
        <a:p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Gestió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l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Cambio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gm:t>
    </dgm:pt>
    <dgm:pt modelId="{FD96B0BE-9E33-2342-9AA1-FE3F77E6FC73}" type="parTrans" cxnId="{C373A52A-6E5E-CA4D-A322-41AD29B88AF7}">
      <dgm:prSet/>
      <dgm:spPr/>
      <dgm:t>
        <a:bodyPr/>
        <a:lstStyle/>
        <a:p>
          <a:endParaRPr lang="en-US"/>
        </a:p>
      </dgm:t>
    </dgm:pt>
    <dgm:pt modelId="{FA2E730F-0421-614A-8167-DCE216DAF2ED}" type="sibTrans" cxnId="{C373A52A-6E5E-CA4D-A322-41AD29B88AF7}">
      <dgm:prSet/>
      <dgm:spPr/>
      <dgm:t>
        <a:bodyPr/>
        <a:lstStyle/>
        <a:p>
          <a:endParaRPr lang="en-US"/>
        </a:p>
      </dgm:t>
    </dgm:pt>
    <dgm:pt modelId="{63838FFF-92AF-954F-B254-E15CFD84B073}">
      <dgm:prSet custT="1"/>
      <dgm:spPr/>
      <dgm:t>
        <a:bodyPr/>
        <a:lstStyle/>
        <a:p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Integraci</a:t>
          </a:r>
          <a:r>
            <a:rPr lang="es-ES" sz="2000" b="1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con Fonasa</a:t>
          </a:r>
          <a:r>
            <a:rPr lang="es-ES" sz="2000" b="1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y Registro Civil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gm:t>
    </dgm:pt>
    <dgm:pt modelId="{DAC105D3-78FC-2A42-967B-BD2CD2D23B41}" type="parTrans" cxnId="{BF7A99D2-8314-8449-8A9E-4D94239E4984}">
      <dgm:prSet/>
      <dgm:spPr/>
      <dgm:t>
        <a:bodyPr/>
        <a:lstStyle/>
        <a:p>
          <a:endParaRPr lang="en-US"/>
        </a:p>
      </dgm:t>
    </dgm:pt>
    <dgm:pt modelId="{6E6B150B-009F-9B4E-B9A1-4B97D20A35EC}" type="sibTrans" cxnId="{BF7A99D2-8314-8449-8A9E-4D94239E4984}">
      <dgm:prSet/>
      <dgm:spPr/>
      <dgm:t>
        <a:bodyPr/>
        <a:lstStyle/>
        <a:p>
          <a:endParaRPr lang="en-US"/>
        </a:p>
      </dgm:t>
    </dgm:pt>
    <dgm:pt modelId="{F6F292F4-A2DC-EA4E-8387-D9318E22FD02}" type="pres">
      <dgm:prSet presAssocID="{78F46820-6196-1644-8FF2-2FFBC227FF80}" presName="Name0" presStyleCnt="0">
        <dgm:presLayoutVars>
          <dgm:dir/>
          <dgm:resizeHandles val="exact"/>
        </dgm:presLayoutVars>
      </dgm:prSet>
      <dgm:spPr/>
    </dgm:pt>
    <dgm:pt modelId="{F7148B5E-D1C0-CF48-97E9-539F231C43A6}" type="pres">
      <dgm:prSet presAssocID="{78F46820-6196-1644-8FF2-2FFBC227FF80}" presName="arrow" presStyleLbl="bgShp" presStyleIdx="0" presStyleCnt="1" custLinFactNeighborY="659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</dgm:pt>
    <dgm:pt modelId="{78D618EA-4848-294C-83BB-1E9EB4854B52}" type="pres">
      <dgm:prSet presAssocID="{78F46820-6196-1644-8FF2-2FFBC227FF80}" presName="points" presStyleCnt="0"/>
      <dgm:spPr/>
    </dgm:pt>
    <dgm:pt modelId="{F3FD8721-8C1B-B344-803C-91F297C2AF78}" type="pres">
      <dgm:prSet presAssocID="{6E91A646-9730-7148-937B-B62CCC633B33}" presName="compositeA" presStyleCnt="0"/>
      <dgm:spPr/>
    </dgm:pt>
    <dgm:pt modelId="{A97A255C-2B38-E44D-843F-18C0F5D3C152}" type="pres">
      <dgm:prSet presAssocID="{6E91A646-9730-7148-937B-B62CCC633B33}" presName="textA" presStyleLbl="revTx" presStyleIdx="0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7C7BBE0-E17E-3D44-BFBC-873FB1D82C2D}" type="pres">
      <dgm:prSet presAssocID="{6E91A646-9730-7148-937B-B62CCC633B33}" presName="circleA" presStyleLbl="node1" presStyleIdx="0" presStyleCnt="6"/>
      <dgm:spPr>
        <a:blipFill rotWithShape="0">
          <a:blip xmlns:r="http://schemas.openxmlformats.org/officeDocument/2006/relationships" r:embed="rId1"/>
          <a:srcRect/>
          <a:stretch>
            <a:fillRect/>
          </a:stretch>
        </a:blipFill>
      </dgm:spPr>
      <dgm:t>
        <a:bodyPr/>
        <a:lstStyle/>
        <a:p>
          <a:endParaRPr lang="es-ES"/>
        </a:p>
      </dgm:t>
    </dgm:pt>
    <dgm:pt modelId="{C1CB0140-5E0E-6043-B1EA-2A957D044550}" type="pres">
      <dgm:prSet presAssocID="{6E91A646-9730-7148-937B-B62CCC633B33}" presName="spaceA" presStyleCnt="0"/>
      <dgm:spPr/>
    </dgm:pt>
    <dgm:pt modelId="{D778B2BE-00D6-E44F-B8BC-FF404FC6E4F0}" type="pres">
      <dgm:prSet presAssocID="{5A76B3E0-2A4C-F34E-A604-8E1A953761CB}" presName="space" presStyleCnt="0"/>
      <dgm:spPr/>
    </dgm:pt>
    <dgm:pt modelId="{FEB0CF69-8964-254B-BD05-C797C45E5EB4}" type="pres">
      <dgm:prSet presAssocID="{63838FFF-92AF-954F-B254-E15CFD84B073}" presName="compositeB" presStyleCnt="0"/>
      <dgm:spPr/>
    </dgm:pt>
    <dgm:pt modelId="{508C886B-1774-BF47-A592-E831B0F98616}" type="pres">
      <dgm:prSet presAssocID="{63838FFF-92AF-954F-B254-E15CFD84B073}" presName="textB" presStyleLbl="revTx" presStyleIdx="1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1C03F5A-EC0E-AB48-A840-30FAD13CB02A}" type="pres">
      <dgm:prSet presAssocID="{63838FFF-92AF-954F-B254-E15CFD84B073}" presName="circleB" presStyleLbl="node1" presStyleIdx="1" presStyleCnt="6" custLinFactNeighborX="-2637"/>
      <dgm:spPr>
        <a:blipFill rotWithShape="0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B761F3B2-EA18-4A4A-8795-BFAD57346897}" type="pres">
      <dgm:prSet presAssocID="{63838FFF-92AF-954F-B254-E15CFD84B073}" presName="spaceB" presStyleCnt="0"/>
      <dgm:spPr/>
    </dgm:pt>
    <dgm:pt modelId="{FA8EC0A3-4F8C-594D-995E-20C159DD416A}" type="pres">
      <dgm:prSet presAssocID="{6E6B150B-009F-9B4E-B9A1-4B97D20A35EC}" presName="space" presStyleCnt="0"/>
      <dgm:spPr/>
    </dgm:pt>
    <dgm:pt modelId="{CA16632F-1380-5847-93A6-1E840E692B20}" type="pres">
      <dgm:prSet presAssocID="{394F42DA-45C4-594B-886A-A55002717E8B}" presName="compositeA" presStyleCnt="0"/>
      <dgm:spPr/>
    </dgm:pt>
    <dgm:pt modelId="{BFBB0300-B3D5-3E44-866B-B5D303DF43B7}" type="pres">
      <dgm:prSet presAssocID="{394F42DA-45C4-594B-886A-A55002717E8B}" presName="textA" presStyleLbl="revTx" presStyleIdx="2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77EF83A-23CF-2E4A-B55D-4377561112F5}" type="pres">
      <dgm:prSet presAssocID="{394F42DA-45C4-594B-886A-A55002717E8B}" presName="circleA" presStyleLbl="node1" presStyleIdx="2" presStyleCnt="6"/>
      <dgm:spPr>
        <a:blipFill rotWithShape="0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321DC85C-DA02-0043-862A-E336F0AF9FF3}" type="pres">
      <dgm:prSet presAssocID="{394F42DA-45C4-594B-886A-A55002717E8B}" presName="spaceA" presStyleCnt="0"/>
      <dgm:spPr/>
    </dgm:pt>
    <dgm:pt modelId="{1E32D7BA-9867-E74D-85D5-904C04B6FD87}" type="pres">
      <dgm:prSet presAssocID="{A4BC142C-EB8A-FC4E-9F52-180D805C3FFF}" presName="space" presStyleCnt="0"/>
      <dgm:spPr/>
    </dgm:pt>
    <dgm:pt modelId="{920E1B1D-4A82-3244-BAD1-7060D00E8B2C}" type="pres">
      <dgm:prSet presAssocID="{31E5D37D-F317-D843-9AF5-B22496362FE5}" presName="compositeB" presStyleCnt="0"/>
      <dgm:spPr/>
    </dgm:pt>
    <dgm:pt modelId="{000E479D-2D59-4946-BC34-D54DF70785EF}" type="pres">
      <dgm:prSet presAssocID="{31E5D37D-F317-D843-9AF5-B22496362FE5}" presName="textB" presStyleLbl="revTx" presStyleIdx="3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B66942E-4B20-B24F-8120-3D52C01D54C8}" type="pres">
      <dgm:prSet presAssocID="{31E5D37D-F317-D843-9AF5-B22496362FE5}" presName="circleB" presStyleLbl="node1" presStyleIdx="3" presStyleCnt="6"/>
      <dgm:spPr>
        <a:blipFill rotWithShape="0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CAC3B4A7-771E-B441-9D8C-5E1833A487F6}" type="pres">
      <dgm:prSet presAssocID="{31E5D37D-F317-D843-9AF5-B22496362FE5}" presName="spaceB" presStyleCnt="0"/>
      <dgm:spPr/>
    </dgm:pt>
    <dgm:pt modelId="{2BBDF1EF-DC36-1041-9558-7A9BE652D45F}" type="pres">
      <dgm:prSet presAssocID="{0E2227D0-1827-2540-8501-DDF24CB87FB5}" presName="space" presStyleCnt="0"/>
      <dgm:spPr/>
    </dgm:pt>
    <dgm:pt modelId="{3D92E3F0-4BF2-AF4F-B978-F9A7A1F6549B}" type="pres">
      <dgm:prSet presAssocID="{69871FC2-699D-834F-8CD4-52990B058E6F}" presName="compositeA" presStyleCnt="0"/>
      <dgm:spPr/>
    </dgm:pt>
    <dgm:pt modelId="{ED4285C7-2315-9D43-A088-85E0F094BF8A}" type="pres">
      <dgm:prSet presAssocID="{69871FC2-699D-834F-8CD4-52990B058E6F}" presName="textA" presStyleLbl="revTx" presStyleIdx="4" presStyleCnt="6" custScaleY="8886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8039B0E-55B6-264D-8293-60134A3FC4B4}" type="pres">
      <dgm:prSet presAssocID="{69871FC2-699D-834F-8CD4-52990B058E6F}" presName="circleA" presStyleLbl="node1" presStyleIdx="4" presStyleCnt="6"/>
      <dgm:spPr>
        <a:blipFill rotWithShape="0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F5F40B00-30C1-094D-AAE3-FE52FEE7C10C}" type="pres">
      <dgm:prSet presAssocID="{69871FC2-699D-834F-8CD4-52990B058E6F}" presName="spaceA" presStyleCnt="0"/>
      <dgm:spPr/>
    </dgm:pt>
    <dgm:pt modelId="{B1488EAF-B796-FB44-B2E7-3C757A955E5C}" type="pres">
      <dgm:prSet presAssocID="{7CB9D0B4-6359-BE42-9396-38E9C9B38CB9}" presName="space" presStyleCnt="0"/>
      <dgm:spPr/>
    </dgm:pt>
    <dgm:pt modelId="{5017CDF3-E088-7742-9A26-2761714674F7}" type="pres">
      <dgm:prSet presAssocID="{212986BA-4996-FC4F-9FEB-B5A95BB9D315}" presName="compositeB" presStyleCnt="0"/>
      <dgm:spPr/>
    </dgm:pt>
    <dgm:pt modelId="{ADFC4EF6-31DB-BA4C-9366-FFA550C6D150}" type="pres">
      <dgm:prSet presAssocID="{212986BA-4996-FC4F-9FEB-B5A95BB9D315}" presName="textB" presStyleLbl="revTx" presStyleIdx="5" presStyleCnt="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44E1D7F-9E34-4444-9DF2-1B2D4CCB7797}" type="pres">
      <dgm:prSet presAssocID="{212986BA-4996-FC4F-9FEB-B5A95BB9D315}" presName="circleB" presStyleLbl="node1" presStyleIdx="5" presStyleCnt="6"/>
      <dgm:spPr>
        <a:solidFill>
          <a:srgbClr val="FFC000"/>
        </a:solidFill>
      </dgm:spPr>
    </dgm:pt>
    <dgm:pt modelId="{F4259D1E-8626-7C4E-B27B-7FE846E23DDE}" type="pres">
      <dgm:prSet presAssocID="{212986BA-4996-FC4F-9FEB-B5A95BB9D315}" presName="spaceB" presStyleCnt="0"/>
      <dgm:spPr/>
    </dgm:pt>
  </dgm:ptLst>
  <dgm:cxnLst>
    <dgm:cxn modelId="{4D8B8271-361D-5944-93F4-0DF920FE867F}" type="presOf" srcId="{394F42DA-45C4-594B-886A-A55002717E8B}" destId="{BFBB0300-B3D5-3E44-866B-B5D303DF43B7}" srcOrd="0" destOrd="0" presId="urn:microsoft.com/office/officeart/2005/8/layout/hProcess11"/>
    <dgm:cxn modelId="{D29A9E11-3E72-6A48-AD28-52D570DB653D}" type="presOf" srcId="{212986BA-4996-FC4F-9FEB-B5A95BB9D315}" destId="{ADFC4EF6-31DB-BA4C-9366-FFA550C6D150}" srcOrd="0" destOrd="0" presId="urn:microsoft.com/office/officeart/2005/8/layout/hProcess11"/>
    <dgm:cxn modelId="{5E98B2D6-AD0E-724B-9FDF-FBA54CF8A78C}" type="presOf" srcId="{31E5D37D-F317-D843-9AF5-B22496362FE5}" destId="{000E479D-2D59-4946-BC34-D54DF70785EF}" srcOrd="0" destOrd="0" presId="urn:microsoft.com/office/officeart/2005/8/layout/hProcess11"/>
    <dgm:cxn modelId="{1A1E31F4-4601-274B-B215-9F1157917693}" type="presOf" srcId="{78F46820-6196-1644-8FF2-2FFBC227FF80}" destId="{F6F292F4-A2DC-EA4E-8387-D9318E22FD02}" srcOrd="0" destOrd="0" presId="urn:microsoft.com/office/officeart/2005/8/layout/hProcess11"/>
    <dgm:cxn modelId="{F1E05336-24FD-8A43-AE52-2CD037900752}" srcId="{78F46820-6196-1644-8FF2-2FFBC227FF80}" destId="{31E5D37D-F317-D843-9AF5-B22496362FE5}" srcOrd="3" destOrd="0" parTransId="{3D8CBF47-8569-214C-896E-DA3FD7FF5696}" sibTransId="{0E2227D0-1827-2540-8501-DDF24CB87FB5}"/>
    <dgm:cxn modelId="{12CDD7F6-AA8A-6041-82F6-1D73985EF082}" srcId="{78F46820-6196-1644-8FF2-2FFBC227FF80}" destId="{394F42DA-45C4-594B-886A-A55002717E8B}" srcOrd="2" destOrd="0" parTransId="{50BF2813-8D3C-844A-88B2-65A6FE1B853B}" sibTransId="{A4BC142C-EB8A-FC4E-9F52-180D805C3FFF}"/>
    <dgm:cxn modelId="{C72D37FC-C423-3849-BF53-94F401F2B9C7}" srcId="{78F46820-6196-1644-8FF2-2FFBC227FF80}" destId="{69871FC2-699D-834F-8CD4-52990B058E6F}" srcOrd="4" destOrd="0" parTransId="{1A01101D-E528-F94C-B1D9-4B181E1B9579}" sibTransId="{7CB9D0B4-6359-BE42-9396-38E9C9B38CB9}"/>
    <dgm:cxn modelId="{1E9031AA-CF0C-144B-BDBA-E8014F25DC62}" type="presOf" srcId="{69871FC2-699D-834F-8CD4-52990B058E6F}" destId="{ED4285C7-2315-9D43-A088-85E0F094BF8A}" srcOrd="0" destOrd="0" presId="urn:microsoft.com/office/officeart/2005/8/layout/hProcess11"/>
    <dgm:cxn modelId="{BF7A99D2-8314-8449-8A9E-4D94239E4984}" srcId="{78F46820-6196-1644-8FF2-2FFBC227FF80}" destId="{63838FFF-92AF-954F-B254-E15CFD84B073}" srcOrd="1" destOrd="0" parTransId="{DAC105D3-78FC-2A42-967B-BD2CD2D23B41}" sibTransId="{6E6B150B-009F-9B4E-B9A1-4B97D20A35EC}"/>
    <dgm:cxn modelId="{EA7E950F-0D86-A44C-8553-FB48F0CC56C1}" type="presOf" srcId="{63838FFF-92AF-954F-B254-E15CFD84B073}" destId="{508C886B-1774-BF47-A592-E831B0F98616}" srcOrd="0" destOrd="0" presId="urn:microsoft.com/office/officeart/2005/8/layout/hProcess11"/>
    <dgm:cxn modelId="{C373A52A-6E5E-CA4D-A322-41AD29B88AF7}" srcId="{78F46820-6196-1644-8FF2-2FFBC227FF80}" destId="{212986BA-4996-FC4F-9FEB-B5A95BB9D315}" srcOrd="5" destOrd="0" parTransId="{FD96B0BE-9E33-2342-9AA1-FE3F77E6FC73}" sibTransId="{FA2E730F-0421-614A-8167-DCE216DAF2ED}"/>
    <dgm:cxn modelId="{69DAD681-F09B-B44B-B93C-9CC2A4C5E917}" type="presOf" srcId="{6E91A646-9730-7148-937B-B62CCC633B33}" destId="{A97A255C-2B38-E44D-843F-18C0F5D3C152}" srcOrd="0" destOrd="0" presId="urn:microsoft.com/office/officeart/2005/8/layout/hProcess11"/>
    <dgm:cxn modelId="{112DE0B6-831F-7E42-BE2F-A4A516485C16}" srcId="{78F46820-6196-1644-8FF2-2FFBC227FF80}" destId="{6E91A646-9730-7148-937B-B62CCC633B33}" srcOrd="0" destOrd="0" parTransId="{5C2C3C85-F37D-2246-80E5-87E743B4AC61}" sibTransId="{5A76B3E0-2A4C-F34E-A604-8E1A953761CB}"/>
    <dgm:cxn modelId="{BAD4ADB9-055F-194E-AB53-0F6DEFBC1E03}" type="presParOf" srcId="{F6F292F4-A2DC-EA4E-8387-D9318E22FD02}" destId="{F7148B5E-D1C0-CF48-97E9-539F231C43A6}" srcOrd="0" destOrd="0" presId="urn:microsoft.com/office/officeart/2005/8/layout/hProcess11"/>
    <dgm:cxn modelId="{6A32F766-9B01-454B-AF5F-792299B57748}" type="presParOf" srcId="{F6F292F4-A2DC-EA4E-8387-D9318E22FD02}" destId="{78D618EA-4848-294C-83BB-1E9EB4854B52}" srcOrd="1" destOrd="0" presId="urn:microsoft.com/office/officeart/2005/8/layout/hProcess11"/>
    <dgm:cxn modelId="{6D108BBE-591D-F946-92BA-7A382D4AB108}" type="presParOf" srcId="{78D618EA-4848-294C-83BB-1E9EB4854B52}" destId="{F3FD8721-8C1B-B344-803C-91F297C2AF78}" srcOrd="0" destOrd="0" presId="urn:microsoft.com/office/officeart/2005/8/layout/hProcess11"/>
    <dgm:cxn modelId="{44638BB5-6D2E-B243-BDD4-7DAC366EA09A}" type="presParOf" srcId="{F3FD8721-8C1B-B344-803C-91F297C2AF78}" destId="{A97A255C-2B38-E44D-843F-18C0F5D3C152}" srcOrd="0" destOrd="0" presId="urn:microsoft.com/office/officeart/2005/8/layout/hProcess11"/>
    <dgm:cxn modelId="{3FC6042B-A948-8F49-AD11-527B525F86E6}" type="presParOf" srcId="{F3FD8721-8C1B-B344-803C-91F297C2AF78}" destId="{C7C7BBE0-E17E-3D44-BFBC-873FB1D82C2D}" srcOrd="1" destOrd="0" presId="urn:microsoft.com/office/officeart/2005/8/layout/hProcess11"/>
    <dgm:cxn modelId="{AD259E04-75B2-5041-BBA6-6C5B47ECC9C2}" type="presParOf" srcId="{F3FD8721-8C1B-B344-803C-91F297C2AF78}" destId="{C1CB0140-5E0E-6043-B1EA-2A957D044550}" srcOrd="2" destOrd="0" presId="urn:microsoft.com/office/officeart/2005/8/layout/hProcess11"/>
    <dgm:cxn modelId="{991B42D4-4824-4948-9CCB-EAEA34CD7111}" type="presParOf" srcId="{78D618EA-4848-294C-83BB-1E9EB4854B52}" destId="{D778B2BE-00D6-E44F-B8BC-FF404FC6E4F0}" srcOrd="1" destOrd="0" presId="urn:microsoft.com/office/officeart/2005/8/layout/hProcess11"/>
    <dgm:cxn modelId="{7E1F2993-E156-B642-A437-9D3226372183}" type="presParOf" srcId="{78D618EA-4848-294C-83BB-1E9EB4854B52}" destId="{FEB0CF69-8964-254B-BD05-C797C45E5EB4}" srcOrd="2" destOrd="0" presId="urn:microsoft.com/office/officeart/2005/8/layout/hProcess11"/>
    <dgm:cxn modelId="{FFECD0FC-E601-1446-B3E5-76E417600374}" type="presParOf" srcId="{FEB0CF69-8964-254B-BD05-C797C45E5EB4}" destId="{508C886B-1774-BF47-A592-E831B0F98616}" srcOrd="0" destOrd="0" presId="urn:microsoft.com/office/officeart/2005/8/layout/hProcess11"/>
    <dgm:cxn modelId="{9439041C-D92F-4744-B21F-C83149778540}" type="presParOf" srcId="{FEB0CF69-8964-254B-BD05-C797C45E5EB4}" destId="{21C03F5A-EC0E-AB48-A840-30FAD13CB02A}" srcOrd="1" destOrd="0" presId="urn:microsoft.com/office/officeart/2005/8/layout/hProcess11"/>
    <dgm:cxn modelId="{433A0457-90DE-5043-B098-558B0310D827}" type="presParOf" srcId="{FEB0CF69-8964-254B-BD05-C797C45E5EB4}" destId="{B761F3B2-EA18-4A4A-8795-BFAD57346897}" srcOrd="2" destOrd="0" presId="urn:microsoft.com/office/officeart/2005/8/layout/hProcess11"/>
    <dgm:cxn modelId="{EDDA4A0C-9591-8E41-B41A-CBB1CA2CDC35}" type="presParOf" srcId="{78D618EA-4848-294C-83BB-1E9EB4854B52}" destId="{FA8EC0A3-4F8C-594D-995E-20C159DD416A}" srcOrd="3" destOrd="0" presId="urn:microsoft.com/office/officeart/2005/8/layout/hProcess11"/>
    <dgm:cxn modelId="{53DD2984-7267-AE4B-8D68-50D9AA8BB5B5}" type="presParOf" srcId="{78D618EA-4848-294C-83BB-1E9EB4854B52}" destId="{CA16632F-1380-5847-93A6-1E840E692B20}" srcOrd="4" destOrd="0" presId="urn:microsoft.com/office/officeart/2005/8/layout/hProcess11"/>
    <dgm:cxn modelId="{AF586882-F3C8-7549-9C85-0D96C7F7E0DA}" type="presParOf" srcId="{CA16632F-1380-5847-93A6-1E840E692B20}" destId="{BFBB0300-B3D5-3E44-866B-B5D303DF43B7}" srcOrd="0" destOrd="0" presId="urn:microsoft.com/office/officeart/2005/8/layout/hProcess11"/>
    <dgm:cxn modelId="{4585FEBD-FE3D-524D-A866-97EE2CD2BDCE}" type="presParOf" srcId="{CA16632F-1380-5847-93A6-1E840E692B20}" destId="{277EF83A-23CF-2E4A-B55D-4377561112F5}" srcOrd="1" destOrd="0" presId="urn:microsoft.com/office/officeart/2005/8/layout/hProcess11"/>
    <dgm:cxn modelId="{48658AF9-6954-1D4F-BA52-E1D51E516F35}" type="presParOf" srcId="{CA16632F-1380-5847-93A6-1E840E692B20}" destId="{321DC85C-DA02-0043-862A-E336F0AF9FF3}" srcOrd="2" destOrd="0" presId="urn:microsoft.com/office/officeart/2005/8/layout/hProcess11"/>
    <dgm:cxn modelId="{755F0BE0-5DE4-EA40-B3AE-3DC45C755314}" type="presParOf" srcId="{78D618EA-4848-294C-83BB-1E9EB4854B52}" destId="{1E32D7BA-9867-E74D-85D5-904C04B6FD87}" srcOrd="5" destOrd="0" presId="urn:microsoft.com/office/officeart/2005/8/layout/hProcess11"/>
    <dgm:cxn modelId="{A24A9FE3-67C3-5949-BB2C-2BE78669C798}" type="presParOf" srcId="{78D618EA-4848-294C-83BB-1E9EB4854B52}" destId="{920E1B1D-4A82-3244-BAD1-7060D00E8B2C}" srcOrd="6" destOrd="0" presId="urn:microsoft.com/office/officeart/2005/8/layout/hProcess11"/>
    <dgm:cxn modelId="{119B04A2-DCE8-D54D-B4FE-A5CE392AAF63}" type="presParOf" srcId="{920E1B1D-4A82-3244-BAD1-7060D00E8B2C}" destId="{000E479D-2D59-4946-BC34-D54DF70785EF}" srcOrd="0" destOrd="0" presId="urn:microsoft.com/office/officeart/2005/8/layout/hProcess11"/>
    <dgm:cxn modelId="{F0328B70-5725-D84C-A8B7-2D1103DD1D51}" type="presParOf" srcId="{920E1B1D-4A82-3244-BAD1-7060D00E8B2C}" destId="{BB66942E-4B20-B24F-8120-3D52C01D54C8}" srcOrd="1" destOrd="0" presId="urn:microsoft.com/office/officeart/2005/8/layout/hProcess11"/>
    <dgm:cxn modelId="{7CD37C3E-A2B9-2D40-9990-8546FBD8EFB0}" type="presParOf" srcId="{920E1B1D-4A82-3244-BAD1-7060D00E8B2C}" destId="{CAC3B4A7-771E-B441-9D8C-5E1833A487F6}" srcOrd="2" destOrd="0" presId="urn:microsoft.com/office/officeart/2005/8/layout/hProcess11"/>
    <dgm:cxn modelId="{99D2CBD7-D28B-E44D-9C7B-38478CE782E6}" type="presParOf" srcId="{78D618EA-4848-294C-83BB-1E9EB4854B52}" destId="{2BBDF1EF-DC36-1041-9558-7A9BE652D45F}" srcOrd="7" destOrd="0" presId="urn:microsoft.com/office/officeart/2005/8/layout/hProcess11"/>
    <dgm:cxn modelId="{9A33DA09-FBE9-0640-A082-DB8AC5EEB3F8}" type="presParOf" srcId="{78D618EA-4848-294C-83BB-1E9EB4854B52}" destId="{3D92E3F0-4BF2-AF4F-B978-F9A7A1F6549B}" srcOrd="8" destOrd="0" presId="urn:microsoft.com/office/officeart/2005/8/layout/hProcess11"/>
    <dgm:cxn modelId="{A19CF10C-5F28-234D-AB7C-59AC7D422322}" type="presParOf" srcId="{3D92E3F0-4BF2-AF4F-B978-F9A7A1F6549B}" destId="{ED4285C7-2315-9D43-A088-85E0F094BF8A}" srcOrd="0" destOrd="0" presId="urn:microsoft.com/office/officeart/2005/8/layout/hProcess11"/>
    <dgm:cxn modelId="{99ABDEB5-D8BB-A949-9789-79EB4E06D58F}" type="presParOf" srcId="{3D92E3F0-4BF2-AF4F-B978-F9A7A1F6549B}" destId="{38039B0E-55B6-264D-8293-60134A3FC4B4}" srcOrd="1" destOrd="0" presId="urn:microsoft.com/office/officeart/2005/8/layout/hProcess11"/>
    <dgm:cxn modelId="{09DA024A-F044-894F-8AE9-41FA23C1A8F3}" type="presParOf" srcId="{3D92E3F0-4BF2-AF4F-B978-F9A7A1F6549B}" destId="{F5F40B00-30C1-094D-AAE3-FE52FEE7C10C}" srcOrd="2" destOrd="0" presId="urn:microsoft.com/office/officeart/2005/8/layout/hProcess11"/>
    <dgm:cxn modelId="{D7C11A7D-D37A-234F-8AA2-1F02132AAA85}" type="presParOf" srcId="{78D618EA-4848-294C-83BB-1E9EB4854B52}" destId="{B1488EAF-B796-FB44-B2E7-3C757A955E5C}" srcOrd="9" destOrd="0" presId="urn:microsoft.com/office/officeart/2005/8/layout/hProcess11"/>
    <dgm:cxn modelId="{B0F82CCB-291F-E741-B828-F621FAD614BB}" type="presParOf" srcId="{78D618EA-4848-294C-83BB-1E9EB4854B52}" destId="{5017CDF3-E088-7742-9A26-2761714674F7}" srcOrd="10" destOrd="0" presId="urn:microsoft.com/office/officeart/2005/8/layout/hProcess11"/>
    <dgm:cxn modelId="{F60DECEA-5452-C74C-AC2D-7C7D70AFCFD3}" type="presParOf" srcId="{5017CDF3-E088-7742-9A26-2761714674F7}" destId="{ADFC4EF6-31DB-BA4C-9366-FFA550C6D150}" srcOrd="0" destOrd="0" presId="urn:microsoft.com/office/officeart/2005/8/layout/hProcess11"/>
    <dgm:cxn modelId="{049F0887-5B91-9D46-B2AF-8BA7ED3F6E35}" type="presParOf" srcId="{5017CDF3-E088-7742-9A26-2761714674F7}" destId="{244E1D7F-9E34-4444-9DF2-1B2D4CCB7797}" srcOrd="1" destOrd="0" presId="urn:microsoft.com/office/officeart/2005/8/layout/hProcess11"/>
    <dgm:cxn modelId="{CE2EF569-85EB-C84E-B707-7014AF401520}" type="presParOf" srcId="{5017CDF3-E088-7742-9A26-2761714674F7}" destId="{F4259D1E-8626-7C4E-B27B-7FE846E23DDE}" srcOrd="2" destOrd="0" presId="urn:microsoft.com/office/officeart/2005/8/layout/hProcess11"/>
  </dgm:cxnLst>
  <dgm:bg>
    <a:noFill/>
    <a:effectLst>
      <a:innerShdw blurRad="63500" dist="50800" dir="2700000">
        <a:prstClr val="black">
          <a:alpha val="50000"/>
        </a:prstClr>
      </a:inn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F567598-3163-CA4F-AF8F-4ADC41DA5FBB}" type="doc">
      <dgm:prSet loTypeId="urn:microsoft.com/office/officeart/2005/8/layout/hProcess11" loCatId="" qsTypeId="urn:microsoft.com/office/officeart/2005/8/quickstyle/3D2" qsCatId="3D" csTypeId="urn:microsoft.com/office/officeart/2005/8/colors/colorful2" csCatId="colorful" phldr="1"/>
      <dgm:spPr/>
    </dgm:pt>
    <dgm:pt modelId="{1DEC61D8-0FF7-B046-9BDC-13FBA359E861}">
      <dgm:prSet phldrT="[Text]" custT="1"/>
      <dgm:spPr>
        <a:xfrm>
          <a:off x="730119" y="2610802"/>
          <a:ext cx="908187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L.E. real,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diaria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y </a:t>
          </a:r>
          <a:r>
            <a:rPr lang="en-US" sz="2000" b="1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operativa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, </a:t>
          </a:r>
          <a:r>
            <a:rPr lang="en-US" sz="2000" b="1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usada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e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hospitales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EC7674B0-2F19-2C44-B3BC-F04C01FA1001}" type="parTrans" cxnId="{E62EB0B6-25FD-2045-A252-4A5B9D4D144C}">
      <dgm:prSet/>
      <dgm:spPr/>
      <dgm:t>
        <a:bodyPr/>
        <a:lstStyle/>
        <a:p>
          <a:endParaRPr lang="en-US"/>
        </a:p>
      </dgm:t>
    </dgm:pt>
    <dgm:pt modelId="{4167345D-0904-1A40-BCE3-21AC68E17957}" type="sibTrans" cxnId="{E62EB0B6-25FD-2045-A252-4A5B9D4D144C}">
      <dgm:prSet/>
      <dgm:spPr/>
      <dgm:t>
        <a:bodyPr/>
        <a:lstStyle/>
        <a:p>
          <a:endParaRPr lang="en-US"/>
        </a:p>
      </dgm:t>
    </dgm:pt>
    <dgm:pt modelId="{6A022B95-22B4-9547-B5B2-F37505123694}">
      <dgm:prSet custT="1"/>
      <dgm:spPr>
        <a:xfrm>
          <a:off x="1659851" y="0"/>
          <a:ext cx="652799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Algoritm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riorizació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Riesg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Morir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C7E649A6-106F-E642-B515-7BA3D0E0E8A7}" type="parTrans" cxnId="{5A3AF319-699F-AB4D-8A22-4F947B17E721}">
      <dgm:prSet/>
      <dgm:spPr/>
      <dgm:t>
        <a:bodyPr/>
        <a:lstStyle/>
        <a:p>
          <a:endParaRPr lang="en-US"/>
        </a:p>
      </dgm:t>
    </dgm:pt>
    <dgm:pt modelId="{189D106D-5890-C44F-B46A-7DFDF103B58D}" type="sibTrans" cxnId="{5A3AF319-699F-AB4D-8A22-4F947B17E721}">
      <dgm:prSet/>
      <dgm:spPr/>
      <dgm:t>
        <a:bodyPr/>
        <a:lstStyle/>
        <a:p>
          <a:endParaRPr lang="en-US"/>
        </a:p>
      </dgm:t>
    </dgm:pt>
    <dgm:pt modelId="{EFC9AFE6-6011-F941-A7CB-F65E41BB2B1B}">
      <dgm:prSet custT="1"/>
      <dgm:spPr>
        <a:xfrm>
          <a:off x="2334197" y="2610802"/>
          <a:ext cx="1065441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Análisi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LE con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Diagnóstico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CIE10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A96176C8-596D-3D44-A28E-BAB63BEC9A5B}" type="parTrans" cxnId="{A5B6635D-C490-9645-A636-5618BB79FB8D}">
      <dgm:prSet/>
      <dgm:spPr/>
      <dgm:t>
        <a:bodyPr/>
        <a:lstStyle/>
        <a:p>
          <a:endParaRPr lang="en-US"/>
        </a:p>
      </dgm:t>
    </dgm:pt>
    <dgm:pt modelId="{74C7C562-462F-984B-8B65-940E858BF7ED}" type="sibTrans" cxnId="{A5B6635D-C490-9645-A636-5618BB79FB8D}">
      <dgm:prSet/>
      <dgm:spPr/>
      <dgm:t>
        <a:bodyPr/>
        <a:lstStyle/>
        <a:p>
          <a:endParaRPr lang="en-US"/>
        </a:p>
      </dgm:t>
    </dgm:pt>
    <dgm:pt modelId="{05726E2E-C218-6D49-A925-11266990BF8C}">
      <dgm:prSet custT="1"/>
      <dgm:spPr>
        <a:xfrm>
          <a:off x="3421184" y="0"/>
          <a:ext cx="971344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L.E.Q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egmentada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egú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Tiempo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Máximo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Espera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(TME)</a:t>
          </a:r>
        </a:p>
      </dgm:t>
    </dgm:pt>
    <dgm:pt modelId="{B1E89DE6-AD68-0E4E-B2ED-FA6E66DA18E5}" type="parTrans" cxnId="{CFC0887D-259B-6C4F-AEDA-1E6D4AA74199}">
      <dgm:prSet/>
      <dgm:spPr/>
      <dgm:t>
        <a:bodyPr/>
        <a:lstStyle/>
        <a:p>
          <a:endParaRPr lang="en-US"/>
        </a:p>
      </dgm:t>
    </dgm:pt>
    <dgm:pt modelId="{A24BD60A-EB9B-C74A-8B6D-5E5E97FF686A}" type="sibTrans" cxnId="{CFC0887D-259B-6C4F-AEDA-1E6D4AA74199}">
      <dgm:prSet/>
      <dgm:spPr/>
      <dgm:t>
        <a:bodyPr/>
        <a:lstStyle/>
        <a:p>
          <a:endParaRPr lang="en-US"/>
        </a:p>
      </dgm:t>
    </dgm:pt>
    <dgm:pt modelId="{F588EFFB-825F-524A-B5D4-0C2EEB3814FD}">
      <dgm:prSet custT="1"/>
      <dgm:spPr>
        <a:xfrm>
          <a:off x="4414075" y="2610802"/>
          <a:ext cx="886448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TM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ajustado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or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SS</a:t>
          </a:r>
        </a:p>
      </dgm:t>
    </dgm:pt>
    <dgm:pt modelId="{327EAD99-E988-2D4B-BE12-B69B3AC23AB4}" type="parTrans" cxnId="{EFC0761C-6B6C-4542-858C-BC06185B4FE0}">
      <dgm:prSet/>
      <dgm:spPr/>
      <dgm:t>
        <a:bodyPr/>
        <a:lstStyle/>
        <a:p>
          <a:endParaRPr lang="en-US"/>
        </a:p>
      </dgm:t>
    </dgm:pt>
    <dgm:pt modelId="{66D8E8B9-76E5-3C4E-97FE-DA0189F54715}" type="sibTrans" cxnId="{EFC0761C-6B6C-4542-858C-BC06185B4FE0}">
      <dgm:prSet/>
      <dgm:spPr/>
      <dgm:t>
        <a:bodyPr/>
        <a:lstStyle/>
        <a:p>
          <a:endParaRPr lang="en-US"/>
        </a:p>
      </dgm:t>
    </dgm:pt>
    <dgm:pt modelId="{F4FB401D-BEEF-7A41-88F4-6A5DF5BA8759}">
      <dgm:prSet custT="1"/>
      <dgm:spPr>
        <a:xfrm>
          <a:off x="5322069" y="0"/>
          <a:ext cx="820009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erfil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Riesg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anitari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CRG a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toda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las LE</a:t>
          </a:r>
        </a:p>
      </dgm:t>
    </dgm:pt>
    <dgm:pt modelId="{221A5025-3EC4-EC48-8DC0-50B0CEDC22FC}" type="parTrans" cxnId="{81D13FC8-AB52-7647-AB98-0808AB2C4184}">
      <dgm:prSet/>
      <dgm:spPr/>
      <dgm:t>
        <a:bodyPr/>
        <a:lstStyle/>
        <a:p>
          <a:endParaRPr lang="en-US"/>
        </a:p>
      </dgm:t>
    </dgm:pt>
    <dgm:pt modelId="{223010D0-D0C4-4E42-AAB3-4002CC51393A}" type="sibTrans" cxnId="{81D13FC8-AB52-7647-AB98-0808AB2C4184}">
      <dgm:prSet/>
      <dgm:spPr/>
      <dgm:t>
        <a:bodyPr/>
        <a:lstStyle/>
        <a:p>
          <a:endParaRPr lang="en-US"/>
        </a:p>
      </dgm:t>
    </dgm:pt>
    <dgm:pt modelId="{AE9A852D-BEFF-480B-AA8D-EE4DFB7A7926}">
      <dgm:prSet custT="1"/>
      <dgm:spPr>
        <a:xfrm>
          <a:off x="5322069" y="0"/>
          <a:ext cx="820009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Informació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a la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Ciudadanía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ED6E4321-1606-477E-B33F-90FED72A58B1}" type="parTrans" cxnId="{AC834298-FA1B-4854-B5F0-01F8565CD965}">
      <dgm:prSet/>
      <dgm:spPr/>
      <dgm:t>
        <a:bodyPr/>
        <a:lstStyle/>
        <a:p>
          <a:endParaRPr lang="es-ES"/>
        </a:p>
      </dgm:t>
    </dgm:pt>
    <dgm:pt modelId="{10CC0102-0990-4F3F-9A75-DDCB394C07A6}" type="sibTrans" cxnId="{AC834298-FA1B-4854-B5F0-01F8565CD965}">
      <dgm:prSet/>
      <dgm:spPr/>
      <dgm:t>
        <a:bodyPr/>
        <a:lstStyle/>
        <a:p>
          <a:endParaRPr lang="es-ES"/>
        </a:p>
      </dgm:t>
    </dgm:pt>
    <dgm:pt modelId="{D8C6F413-A0BF-F14F-B9CC-5602B5DAEA75}" type="pres">
      <dgm:prSet presAssocID="{AF567598-3163-CA4F-AF8F-4ADC41DA5FBB}" presName="Name0" presStyleCnt="0">
        <dgm:presLayoutVars>
          <dgm:dir/>
          <dgm:resizeHandles val="exact"/>
        </dgm:presLayoutVars>
      </dgm:prSet>
      <dgm:spPr/>
    </dgm:pt>
    <dgm:pt modelId="{94196524-F532-C644-967B-F96D4C2367D8}" type="pres">
      <dgm:prSet presAssocID="{AF567598-3163-CA4F-AF8F-4ADC41DA5FBB}" presName="arrow" presStyleLbl="bgShp" presStyleIdx="0" presStyleCnt="1"/>
      <dgm:spPr>
        <a:xfrm>
          <a:off x="0" y="1305401"/>
          <a:ext cx="12087225" cy="1740535"/>
        </a:xfrm>
        <a:prstGeom prst="notchedRightArrow">
          <a:avLst/>
        </a:prstGeom>
        <a:solidFill>
          <a:srgbClr val="00206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ysClr val="window" lastClr="FFFFFF"/>
          </a:contourClr>
        </a:sp3d>
      </dgm:spPr>
    </dgm:pt>
    <dgm:pt modelId="{370CEE7C-E49D-D144-8F58-273C61E09FC9}" type="pres">
      <dgm:prSet presAssocID="{AF567598-3163-CA4F-AF8F-4ADC41DA5FBB}" presName="points" presStyleCnt="0"/>
      <dgm:spPr/>
    </dgm:pt>
    <dgm:pt modelId="{B5DA93BB-799C-4E39-8572-A06E49108130}" type="pres">
      <dgm:prSet presAssocID="{1DEC61D8-0FF7-B046-9BDC-13FBA359E861}" presName="compositeA" presStyleCnt="0"/>
      <dgm:spPr/>
    </dgm:pt>
    <dgm:pt modelId="{91647193-8E44-4435-AB0A-9FCF0C37441E}" type="pres">
      <dgm:prSet presAssocID="{1DEC61D8-0FF7-B046-9BDC-13FBA359E861}" presName="textA" presStyleLbl="revTx" presStyleIdx="0" presStyleCnt="7" custScaleX="23421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4F4BDCAB-DCA7-4ABB-8121-369C270F88C2}" type="pres">
      <dgm:prSet presAssocID="{1DEC61D8-0FF7-B046-9BDC-13FBA359E861}" presName="circleA" presStyleLbl="node1" presStyleIdx="0" presStyleCnt="7"/>
      <dgm:spPr/>
    </dgm:pt>
    <dgm:pt modelId="{ABF2FFF6-708F-4678-9A1D-CAE1C6719486}" type="pres">
      <dgm:prSet presAssocID="{1DEC61D8-0FF7-B046-9BDC-13FBA359E861}" presName="spaceA" presStyleCnt="0"/>
      <dgm:spPr/>
    </dgm:pt>
    <dgm:pt modelId="{7A568C39-22FE-9F4F-AC66-6194B96CFADD}" type="pres">
      <dgm:prSet presAssocID="{4167345D-0904-1A40-BCE3-21AC68E17957}" presName="space" presStyleCnt="0"/>
      <dgm:spPr/>
    </dgm:pt>
    <dgm:pt modelId="{37DCBA35-91E9-43CB-9712-BC6952FA97B1}" type="pres">
      <dgm:prSet presAssocID="{6A022B95-22B4-9547-B5B2-F37505123694}" presName="compositeB" presStyleCnt="0"/>
      <dgm:spPr/>
    </dgm:pt>
    <dgm:pt modelId="{AA40C4F9-5DAE-41F5-A85A-7247A79C0654}" type="pres">
      <dgm:prSet presAssocID="{6A022B95-22B4-9547-B5B2-F37505123694}" presName="textB" presStyleLbl="revTx" presStyleIdx="1" presStyleCnt="7" custScaleX="163153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4C96D7C5-4162-4F11-A368-C4EDFB11F276}" type="pres">
      <dgm:prSet presAssocID="{6A022B95-22B4-9547-B5B2-F37505123694}" presName="circleB" presStyleLbl="node1" presStyleIdx="1" presStyleCnt="7"/>
      <dgm:spPr/>
    </dgm:pt>
    <dgm:pt modelId="{61309C94-CB7B-4889-A9E4-F4194D7C6193}" type="pres">
      <dgm:prSet presAssocID="{6A022B95-22B4-9547-B5B2-F37505123694}" presName="spaceB" presStyleCnt="0"/>
      <dgm:spPr/>
    </dgm:pt>
    <dgm:pt modelId="{168CB8F3-F698-D74E-81D3-64F3B84842AD}" type="pres">
      <dgm:prSet presAssocID="{189D106D-5890-C44F-B46A-7DFDF103B58D}" presName="space" presStyleCnt="0"/>
      <dgm:spPr/>
    </dgm:pt>
    <dgm:pt modelId="{65FEF124-0E6B-4226-80F1-32FC61F017FA}" type="pres">
      <dgm:prSet presAssocID="{EFC9AFE6-6011-F941-A7CB-F65E41BB2B1B}" presName="compositeA" presStyleCnt="0"/>
      <dgm:spPr/>
    </dgm:pt>
    <dgm:pt modelId="{F9A3D702-80D1-403A-838D-2F00B43FF1C6}" type="pres">
      <dgm:prSet presAssocID="{EFC9AFE6-6011-F941-A7CB-F65E41BB2B1B}" presName="textA" presStyleLbl="revTx" presStyleIdx="2" presStyleCnt="7" custScaleX="200452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22E1BB6A-9F8D-4D19-A5CA-E5E4782F2714}" type="pres">
      <dgm:prSet presAssocID="{EFC9AFE6-6011-F941-A7CB-F65E41BB2B1B}" presName="circleA" presStyleLbl="node1" presStyleIdx="2" presStyleCnt="7"/>
      <dgm:spPr/>
    </dgm:pt>
    <dgm:pt modelId="{BA8D85C5-49FE-4EA6-8DB5-B15D93FD6B48}" type="pres">
      <dgm:prSet presAssocID="{EFC9AFE6-6011-F941-A7CB-F65E41BB2B1B}" presName="spaceA" presStyleCnt="0"/>
      <dgm:spPr/>
    </dgm:pt>
    <dgm:pt modelId="{92049C74-B442-B140-97BA-2C1EBD1523EA}" type="pres">
      <dgm:prSet presAssocID="{74C7C562-462F-984B-8B65-940E858BF7ED}" presName="space" presStyleCnt="0"/>
      <dgm:spPr/>
    </dgm:pt>
    <dgm:pt modelId="{25F54CDF-59F6-439E-895C-0EB94AD64305}" type="pres">
      <dgm:prSet presAssocID="{05726E2E-C218-6D49-A925-11266990BF8C}" presName="compositeB" presStyleCnt="0"/>
      <dgm:spPr/>
    </dgm:pt>
    <dgm:pt modelId="{BA47E911-2042-4BFD-95F7-D9DE008DF464}" type="pres">
      <dgm:prSet presAssocID="{05726E2E-C218-6D49-A925-11266990BF8C}" presName="textB" presStyleLbl="revTx" presStyleIdx="3" presStyleCnt="7" custScaleX="173612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BBE5224B-93A7-43F8-9A41-7C4628E95A60}" type="pres">
      <dgm:prSet presAssocID="{05726E2E-C218-6D49-A925-11266990BF8C}" presName="circleB" presStyleLbl="node1" presStyleIdx="3" presStyleCnt="7"/>
      <dgm:spPr/>
    </dgm:pt>
    <dgm:pt modelId="{DBFF6C2F-AF7A-4D5F-B26E-B36327130FEB}" type="pres">
      <dgm:prSet presAssocID="{05726E2E-C218-6D49-A925-11266990BF8C}" presName="spaceB" presStyleCnt="0"/>
      <dgm:spPr/>
    </dgm:pt>
    <dgm:pt modelId="{1483CC2B-B45C-DA4C-8E88-A85C429E57FA}" type="pres">
      <dgm:prSet presAssocID="{A24BD60A-EB9B-C74A-8B6D-5E5E97FF686A}" presName="space" presStyleCnt="0"/>
      <dgm:spPr/>
    </dgm:pt>
    <dgm:pt modelId="{35A6E344-E9D6-47DD-A05F-B35BD5EEDE98}" type="pres">
      <dgm:prSet presAssocID="{F588EFFB-825F-524A-B5D4-0C2EEB3814FD}" presName="compositeA" presStyleCnt="0"/>
      <dgm:spPr/>
    </dgm:pt>
    <dgm:pt modelId="{F597852F-5306-4F46-AC4D-1231CFC2A926}" type="pres">
      <dgm:prSet presAssocID="{F588EFFB-825F-524A-B5D4-0C2EEB3814FD}" presName="textA" presStyleLbl="revTx" presStyleIdx="4" presStyleCnt="7" custScaleX="165992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009FED3E-9909-45AA-986B-B86174047050}" type="pres">
      <dgm:prSet presAssocID="{F588EFFB-825F-524A-B5D4-0C2EEB3814FD}" presName="circleA" presStyleLbl="node1" presStyleIdx="4" presStyleCnt="7"/>
      <dgm:spPr/>
    </dgm:pt>
    <dgm:pt modelId="{3E0177F6-8838-472D-AB2D-DFD64F37E414}" type="pres">
      <dgm:prSet presAssocID="{F588EFFB-825F-524A-B5D4-0C2EEB3814FD}" presName="spaceA" presStyleCnt="0"/>
      <dgm:spPr/>
    </dgm:pt>
    <dgm:pt modelId="{C00937CF-887D-DD4C-BFBC-CC2A6B1C651C}" type="pres">
      <dgm:prSet presAssocID="{66D8E8B9-76E5-3C4E-97FE-DA0189F54715}" presName="space" presStyleCnt="0"/>
      <dgm:spPr/>
    </dgm:pt>
    <dgm:pt modelId="{9B721B96-0970-4F31-B931-0CF8ECF65035}" type="pres">
      <dgm:prSet presAssocID="{F4FB401D-BEEF-7A41-88F4-6A5DF5BA8759}" presName="compositeB" presStyleCnt="0"/>
      <dgm:spPr/>
    </dgm:pt>
    <dgm:pt modelId="{1ACB1C9A-5A26-4C36-A6B1-854B400FEAF8}" type="pres">
      <dgm:prSet presAssocID="{F4FB401D-BEEF-7A41-88F4-6A5DF5BA8759}" presName="textB" presStyleLbl="revTx" presStyleIdx="5" presStyleCnt="7" custScaleX="18485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8BD8E64C-AB95-41A2-9885-CC5DA7DBA1C0}" type="pres">
      <dgm:prSet presAssocID="{F4FB401D-BEEF-7A41-88F4-6A5DF5BA8759}" presName="circleB" presStyleLbl="node1" presStyleIdx="5" presStyleCnt="7"/>
      <dgm:spPr/>
    </dgm:pt>
    <dgm:pt modelId="{2B4647CC-887D-4636-B2A4-32D67FDE4410}" type="pres">
      <dgm:prSet presAssocID="{F4FB401D-BEEF-7A41-88F4-6A5DF5BA8759}" presName="spaceB" presStyleCnt="0"/>
      <dgm:spPr/>
    </dgm:pt>
    <dgm:pt modelId="{4B9A7B2C-9B5D-8645-9EC4-6F35A5711A80}" type="pres">
      <dgm:prSet presAssocID="{223010D0-D0C4-4E42-AAB3-4002CC51393A}" presName="space" presStyleCnt="0"/>
      <dgm:spPr/>
    </dgm:pt>
    <dgm:pt modelId="{14C0B1D4-98D6-4B30-84BB-C4BCEE9AF3AD}" type="pres">
      <dgm:prSet presAssocID="{AE9A852D-BEFF-480B-AA8D-EE4DFB7A7926}" presName="compositeA" presStyleCnt="0"/>
      <dgm:spPr/>
    </dgm:pt>
    <dgm:pt modelId="{F7C9C71B-9244-460E-B2D6-D7BED0435C1E}" type="pres">
      <dgm:prSet presAssocID="{AE9A852D-BEFF-480B-AA8D-EE4DFB7A7926}" presName="textA" presStyleLbl="revTx" presStyleIdx="6" presStyleCnt="7" custScaleX="19676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2586398-89C5-4F86-B98A-4FB58EE6F5A1}" type="pres">
      <dgm:prSet presAssocID="{AE9A852D-BEFF-480B-AA8D-EE4DFB7A7926}" presName="circleA" presStyleLbl="node1" presStyleIdx="6" presStyleCnt="7"/>
      <dgm:spPr/>
    </dgm:pt>
    <dgm:pt modelId="{704D5281-E8B5-40E5-A4B6-81453B6C0C30}" type="pres">
      <dgm:prSet presAssocID="{AE9A852D-BEFF-480B-AA8D-EE4DFB7A7926}" presName="spaceA" presStyleCnt="0"/>
      <dgm:spPr/>
    </dgm:pt>
  </dgm:ptLst>
  <dgm:cxnLst>
    <dgm:cxn modelId="{552B3C6C-A505-433F-B866-E900895B0162}" type="presOf" srcId="{F588EFFB-825F-524A-B5D4-0C2EEB3814FD}" destId="{F597852F-5306-4F46-AC4D-1231CFC2A926}" srcOrd="0" destOrd="0" presId="urn:microsoft.com/office/officeart/2005/8/layout/hProcess11"/>
    <dgm:cxn modelId="{AC834298-FA1B-4854-B5F0-01F8565CD965}" srcId="{AF567598-3163-CA4F-AF8F-4ADC41DA5FBB}" destId="{AE9A852D-BEFF-480B-AA8D-EE4DFB7A7926}" srcOrd="6" destOrd="0" parTransId="{ED6E4321-1606-477E-B33F-90FED72A58B1}" sibTransId="{10CC0102-0990-4F3F-9A75-DDCB394C07A6}"/>
    <dgm:cxn modelId="{81D13FC8-AB52-7647-AB98-0808AB2C4184}" srcId="{AF567598-3163-CA4F-AF8F-4ADC41DA5FBB}" destId="{F4FB401D-BEEF-7A41-88F4-6A5DF5BA8759}" srcOrd="5" destOrd="0" parTransId="{221A5025-3EC4-EC48-8DC0-50B0CEDC22FC}" sibTransId="{223010D0-D0C4-4E42-AAB3-4002CC51393A}"/>
    <dgm:cxn modelId="{EFC0761C-6B6C-4542-858C-BC06185B4FE0}" srcId="{AF567598-3163-CA4F-AF8F-4ADC41DA5FBB}" destId="{F588EFFB-825F-524A-B5D4-0C2EEB3814FD}" srcOrd="4" destOrd="0" parTransId="{327EAD99-E988-2D4B-BE12-B69B3AC23AB4}" sibTransId="{66D8E8B9-76E5-3C4E-97FE-DA0189F54715}"/>
    <dgm:cxn modelId="{5E6BBA5B-AC21-4E9B-ADB1-83E0BBB522B3}" type="presOf" srcId="{6A022B95-22B4-9547-B5B2-F37505123694}" destId="{AA40C4F9-5DAE-41F5-A85A-7247A79C0654}" srcOrd="0" destOrd="0" presId="urn:microsoft.com/office/officeart/2005/8/layout/hProcess11"/>
    <dgm:cxn modelId="{892F51A4-6CF9-4AED-8BF9-83797F7AC7AA}" type="presOf" srcId="{EFC9AFE6-6011-F941-A7CB-F65E41BB2B1B}" destId="{F9A3D702-80D1-403A-838D-2F00B43FF1C6}" srcOrd="0" destOrd="0" presId="urn:microsoft.com/office/officeart/2005/8/layout/hProcess11"/>
    <dgm:cxn modelId="{CFC0887D-259B-6C4F-AEDA-1E6D4AA74199}" srcId="{AF567598-3163-CA4F-AF8F-4ADC41DA5FBB}" destId="{05726E2E-C218-6D49-A925-11266990BF8C}" srcOrd="3" destOrd="0" parTransId="{B1E89DE6-AD68-0E4E-B2ED-FA6E66DA18E5}" sibTransId="{A24BD60A-EB9B-C74A-8B6D-5E5E97FF686A}"/>
    <dgm:cxn modelId="{5A3AF319-699F-AB4D-8A22-4F947B17E721}" srcId="{AF567598-3163-CA4F-AF8F-4ADC41DA5FBB}" destId="{6A022B95-22B4-9547-B5B2-F37505123694}" srcOrd="1" destOrd="0" parTransId="{C7E649A6-106F-E642-B515-7BA3D0E0E8A7}" sibTransId="{189D106D-5890-C44F-B46A-7DFDF103B58D}"/>
    <dgm:cxn modelId="{92F1CE67-29FC-4B49-860A-5BF877694223}" type="presOf" srcId="{AF567598-3163-CA4F-AF8F-4ADC41DA5FBB}" destId="{D8C6F413-A0BF-F14F-B9CC-5602B5DAEA75}" srcOrd="0" destOrd="0" presId="urn:microsoft.com/office/officeart/2005/8/layout/hProcess11"/>
    <dgm:cxn modelId="{85D551D2-C423-4976-B569-CB47C98DCB76}" type="presOf" srcId="{AE9A852D-BEFF-480B-AA8D-EE4DFB7A7926}" destId="{F7C9C71B-9244-460E-B2D6-D7BED0435C1E}" srcOrd="0" destOrd="0" presId="urn:microsoft.com/office/officeart/2005/8/layout/hProcess11"/>
    <dgm:cxn modelId="{9D4EBC14-FC0B-4F4E-814B-514CB798D0CB}" type="presOf" srcId="{1DEC61D8-0FF7-B046-9BDC-13FBA359E861}" destId="{91647193-8E44-4435-AB0A-9FCF0C37441E}" srcOrd="0" destOrd="0" presId="urn:microsoft.com/office/officeart/2005/8/layout/hProcess11"/>
    <dgm:cxn modelId="{A5B6635D-C490-9645-A636-5618BB79FB8D}" srcId="{AF567598-3163-CA4F-AF8F-4ADC41DA5FBB}" destId="{EFC9AFE6-6011-F941-A7CB-F65E41BB2B1B}" srcOrd="2" destOrd="0" parTransId="{A96176C8-596D-3D44-A28E-BAB63BEC9A5B}" sibTransId="{74C7C562-462F-984B-8B65-940E858BF7ED}"/>
    <dgm:cxn modelId="{FE5F0790-BC13-4294-8DC3-01E5CA954752}" type="presOf" srcId="{F4FB401D-BEEF-7A41-88F4-6A5DF5BA8759}" destId="{1ACB1C9A-5A26-4C36-A6B1-854B400FEAF8}" srcOrd="0" destOrd="0" presId="urn:microsoft.com/office/officeart/2005/8/layout/hProcess11"/>
    <dgm:cxn modelId="{C2666B9F-5351-4B35-ADED-E996878B012B}" type="presOf" srcId="{05726E2E-C218-6D49-A925-11266990BF8C}" destId="{BA47E911-2042-4BFD-95F7-D9DE008DF464}" srcOrd="0" destOrd="0" presId="urn:microsoft.com/office/officeart/2005/8/layout/hProcess11"/>
    <dgm:cxn modelId="{E62EB0B6-25FD-2045-A252-4A5B9D4D144C}" srcId="{AF567598-3163-CA4F-AF8F-4ADC41DA5FBB}" destId="{1DEC61D8-0FF7-B046-9BDC-13FBA359E861}" srcOrd="0" destOrd="0" parTransId="{EC7674B0-2F19-2C44-B3BC-F04C01FA1001}" sibTransId="{4167345D-0904-1A40-BCE3-21AC68E17957}"/>
    <dgm:cxn modelId="{2DF8730F-A27E-6F4C-B58F-A517F21D7C10}" type="presParOf" srcId="{D8C6F413-A0BF-F14F-B9CC-5602B5DAEA75}" destId="{94196524-F532-C644-967B-F96D4C2367D8}" srcOrd="0" destOrd="0" presId="urn:microsoft.com/office/officeart/2005/8/layout/hProcess11"/>
    <dgm:cxn modelId="{8B401973-AAF8-7B48-B4BC-7FFB4E9F7AE6}" type="presParOf" srcId="{D8C6F413-A0BF-F14F-B9CC-5602B5DAEA75}" destId="{370CEE7C-E49D-D144-8F58-273C61E09FC9}" srcOrd="1" destOrd="0" presId="urn:microsoft.com/office/officeart/2005/8/layout/hProcess11"/>
    <dgm:cxn modelId="{ACAD95DE-03A3-43BF-9B06-1CCA69A9B5E5}" type="presParOf" srcId="{370CEE7C-E49D-D144-8F58-273C61E09FC9}" destId="{B5DA93BB-799C-4E39-8572-A06E49108130}" srcOrd="0" destOrd="0" presId="urn:microsoft.com/office/officeart/2005/8/layout/hProcess11"/>
    <dgm:cxn modelId="{D7B3DD92-A13E-4B47-B3FE-A3A4924F78D6}" type="presParOf" srcId="{B5DA93BB-799C-4E39-8572-A06E49108130}" destId="{91647193-8E44-4435-AB0A-9FCF0C37441E}" srcOrd="0" destOrd="0" presId="urn:microsoft.com/office/officeart/2005/8/layout/hProcess11"/>
    <dgm:cxn modelId="{7C73B4CB-4CC1-4A60-ABC4-C41CCA087D00}" type="presParOf" srcId="{B5DA93BB-799C-4E39-8572-A06E49108130}" destId="{4F4BDCAB-DCA7-4ABB-8121-369C270F88C2}" srcOrd="1" destOrd="0" presId="urn:microsoft.com/office/officeart/2005/8/layout/hProcess11"/>
    <dgm:cxn modelId="{B82C9696-AE00-4626-9C82-95E1D32212C8}" type="presParOf" srcId="{B5DA93BB-799C-4E39-8572-A06E49108130}" destId="{ABF2FFF6-708F-4678-9A1D-CAE1C6719486}" srcOrd="2" destOrd="0" presId="urn:microsoft.com/office/officeart/2005/8/layout/hProcess11"/>
    <dgm:cxn modelId="{537C2101-A7B5-C941-B23D-2F8BAF3AFBD1}" type="presParOf" srcId="{370CEE7C-E49D-D144-8F58-273C61E09FC9}" destId="{7A568C39-22FE-9F4F-AC66-6194B96CFADD}" srcOrd="1" destOrd="0" presId="urn:microsoft.com/office/officeart/2005/8/layout/hProcess11"/>
    <dgm:cxn modelId="{FE033E3F-F3C6-448B-BBE1-6D1FC079FC7A}" type="presParOf" srcId="{370CEE7C-E49D-D144-8F58-273C61E09FC9}" destId="{37DCBA35-91E9-43CB-9712-BC6952FA97B1}" srcOrd="2" destOrd="0" presId="urn:microsoft.com/office/officeart/2005/8/layout/hProcess11"/>
    <dgm:cxn modelId="{992B4CAC-3EAA-4C97-8F23-B6510B6DBBE7}" type="presParOf" srcId="{37DCBA35-91E9-43CB-9712-BC6952FA97B1}" destId="{AA40C4F9-5DAE-41F5-A85A-7247A79C0654}" srcOrd="0" destOrd="0" presId="urn:microsoft.com/office/officeart/2005/8/layout/hProcess11"/>
    <dgm:cxn modelId="{9E2E4597-BD8F-4DA9-88C8-632E01DFA8C0}" type="presParOf" srcId="{37DCBA35-91E9-43CB-9712-BC6952FA97B1}" destId="{4C96D7C5-4162-4F11-A368-C4EDFB11F276}" srcOrd="1" destOrd="0" presId="urn:microsoft.com/office/officeart/2005/8/layout/hProcess11"/>
    <dgm:cxn modelId="{A9B61914-A557-46A0-A565-26670BC1E3E0}" type="presParOf" srcId="{37DCBA35-91E9-43CB-9712-BC6952FA97B1}" destId="{61309C94-CB7B-4889-A9E4-F4194D7C6193}" srcOrd="2" destOrd="0" presId="urn:microsoft.com/office/officeart/2005/8/layout/hProcess11"/>
    <dgm:cxn modelId="{DCE951E9-E311-BC47-9477-E0851F768533}" type="presParOf" srcId="{370CEE7C-E49D-D144-8F58-273C61E09FC9}" destId="{168CB8F3-F698-D74E-81D3-64F3B84842AD}" srcOrd="3" destOrd="0" presId="urn:microsoft.com/office/officeart/2005/8/layout/hProcess11"/>
    <dgm:cxn modelId="{D45B4F91-30B4-4A2F-BCBB-2147D0549A33}" type="presParOf" srcId="{370CEE7C-E49D-D144-8F58-273C61E09FC9}" destId="{65FEF124-0E6B-4226-80F1-32FC61F017FA}" srcOrd="4" destOrd="0" presId="urn:microsoft.com/office/officeart/2005/8/layout/hProcess11"/>
    <dgm:cxn modelId="{E2DD0771-C371-4FDB-A6FB-4898C30142EF}" type="presParOf" srcId="{65FEF124-0E6B-4226-80F1-32FC61F017FA}" destId="{F9A3D702-80D1-403A-838D-2F00B43FF1C6}" srcOrd="0" destOrd="0" presId="urn:microsoft.com/office/officeart/2005/8/layout/hProcess11"/>
    <dgm:cxn modelId="{54774A53-5897-4584-BBD0-E3419F476BE9}" type="presParOf" srcId="{65FEF124-0E6B-4226-80F1-32FC61F017FA}" destId="{22E1BB6A-9F8D-4D19-A5CA-E5E4782F2714}" srcOrd="1" destOrd="0" presId="urn:microsoft.com/office/officeart/2005/8/layout/hProcess11"/>
    <dgm:cxn modelId="{A6293BB4-7115-4E05-B892-33526013E1CA}" type="presParOf" srcId="{65FEF124-0E6B-4226-80F1-32FC61F017FA}" destId="{BA8D85C5-49FE-4EA6-8DB5-B15D93FD6B48}" srcOrd="2" destOrd="0" presId="urn:microsoft.com/office/officeart/2005/8/layout/hProcess11"/>
    <dgm:cxn modelId="{58D3CC3A-5886-AB43-B9E0-C23991B905DF}" type="presParOf" srcId="{370CEE7C-E49D-D144-8F58-273C61E09FC9}" destId="{92049C74-B442-B140-97BA-2C1EBD1523EA}" srcOrd="5" destOrd="0" presId="urn:microsoft.com/office/officeart/2005/8/layout/hProcess11"/>
    <dgm:cxn modelId="{70C4C2E1-2111-4F8F-A791-7254F608A435}" type="presParOf" srcId="{370CEE7C-E49D-D144-8F58-273C61E09FC9}" destId="{25F54CDF-59F6-439E-895C-0EB94AD64305}" srcOrd="6" destOrd="0" presId="urn:microsoft.com/office/officeart/2005/8/layout/hProcess11"/>
    <dgm:cxn modelId="{38078456-5AAC-4052-8461-EE64D674ED0A}" type="presParOf" srcId="{25F54CDF-59F6-439E-895C-0EB94AD64305}" destId="{BA47E911-2042-4BFD-95F7-D9DE008DF464}" srcOrd="0" destOrd="0" presId="urn:microsoft.com/office/officeart/2005/8/layout/hProcess11"/>
    <dgm:cxn modelId="{E39D5A0C-64A3-4C52-B616-7B59460B47DA}" type="presParOf" srcId="{25F54CDF-59F6-439E-895C-0EB94AD64305}" destId="{BBE5224B-93A7-43F8-9A41-7C4628E95A60}" srcOrd="1" destOrd="0" presId="urn:microsoft.com/office/officeart/2005/8/layout/hProcess11"/>
    <dgm:cxn modelId="{9885B84C-2321-4577-BE77-68FBAE717A97}" type="presParOf" srcId="{25F54CDF-59F6-439E-895C-0EB94AD64305}" destId="{DBFF6C2F-AF7A-4D5F-B26E-B36327130FEB}" srcOrd="2" destOrd="0" presId="urn:microsoft.com/office/officeart/2005/8/layout/hProcess11"/>
    <dgm:cxn modelId="{7C95AFF9-71C8-034D-883F-19AB12CB659F}" type="presParOf" srcId="{370CEE7C-E49D-D144-8F58-273C61E09FC9}" destId="{1483CC2B-B45C-DA4C-8E88-A85C429E57FA}" srcOrd="7" destOrd="0" presId="urn:microsoft.com/office/officeart/2005/8/layout/hProcess11"/>
    <dgm:cxn modelId="{2CCAC165-62A4-442D-BC68-6458F374C52E}" type="presParOf" srcId="{370CEE7C-E49D-D144-8F58-273C61E09FC9}" destId="{35A6E344-E9D6-47DD-A05F-B35BD5EEDE98}" srcOrd="8" destOrd="0" presId="urn:microsoft.com/office/officeart/2005/8/layout/hProcess11"/>
    <dgm:cxn modelId="{E0F9EAE3-84AE-4F61-A294-18AAA50A0230}" type="presParOf" srcId="{35A6E344-E9D6-47DD-A05F-B35BD5EEDE98}" destId="{F597852F-5306-4F46-AC4D-1231CFC2A926}" srcOrd="0" destOrd="0" presId="urn:microsoft.com/office/officeart/2005/8/layout/hProcess11"/>
    <dgm:cxn modelId="{22FB8C08-DC8F-4679-8F84-EF9DEC2FF254}" type="presParOf" srcId="{35A6E344-E9D6-47DD-A05F-B35BD5EEDE98}" destId="{009FED3E-9909-45AA-986B-B86174047050}" srcOrd="1" destOrd="0" presId="urn:microsoft.com/office/officeart/2005/8/layout/hProcess11"/>
    <dgm:cxn modelId="{E868A5DF-BEE7-416C-96F8-4750B86AD811}" type="presParOf" srcId="{35A6E344-E9D6-47DD-A05F-B35BD5EEDE98}" destId="{3E0177F6-8838-472D-AB2D-DFD64F37E414}" srcOrd="2" destOrd="0" presId="urn:microsoft.com/office/officeart/2005/8/layout/hProcess11"/>
    <dgm:cxn modelId="{2FC1315B-4D64-CC45-9EBD-2AE5C7E2F389}" type="presParOf" srcId="{370CEE7C-E49D-D144-8F58-273C61E09FC9}" destId="{C00937CF-887D-DD4C-BFBC-CC2A6B1C651C}" srcOrd="9" destOrd="0" presId="urn:microsoft.com/office/officeart/2005/8/layout/hProcess11"/>
    <dgm:cxn modelId="{7D6A01CA-FB6D-4414-8B2B-02C1E6ED1408}" type="presParOf" srcId="{370CEE7C-E49D-D144-8F58-273C61E09FC9}" destId="{9B721B96-0970-4F31-B931-0CF8ECF65035}" srcOrd="10" destOrd="0" presId="urn:microsoft.com/office/officeart/2005/8/layout/hProcess11"/>
    <dgm:cxn modelId="{8DAB5B2A-5CE1-49C5-B51B-75297456D17A}" type="presParOf" srcId="{9B721B96-0970-4F31-B931-0CF8ECF65035}" destId="{1ACB1C9A-5A26-4C36-A6B1-854B400FEAF8}" srcOrd="0" destOrd="0" presId="urn:microsoft.com/office/officeart/2005/8/layout/hProcess11"/>
    <dgm:cxn modelId="{C3F9086A-7551-4E31-81FF-FBCC1E8A5038}" type="presParOf" srcId="{9B721B96-0970-4F31-B931-0CF8ECF65035}" destId="{8BD8E64C-AB95-41A2-9885-CC5DA7DBA1C0}" srcOrd="1" destOrd="0" presId="urn:microsoft.com/office/officeart/2005/8/layout/hProcess11"/>
    <dgm:cxn modelId="{5DEFFD16-1D5B-4DC2-A383-487DC9CEE041}" type="presParOf" srcId="{9B721B96-0970-4F31-B931-0CF8ECF65035}" destId="{2B4647CC-887D-4636-B2A4-32D67FDE4410}" srcOrd="2" destOrd="0" presId="urn:microsoft.com/office/officeart/2005/8/layout/hProcess11"/>
    <dgm:cxn modelId="{14F839D8-9D53-2745-BCA7-2E3192D0F2A4}" type="presParOf" srcId="{370CEE7C-E49D-D144-8F58-273C61E09FC9}" destId="{4B9A7B2C-9B5D-8645-9EC4-6F35A5711A80}" srcOrd="11" destOrd="0" presId="urn:microsoft.com/office/officeart/2005/8/layout/hProcess11"/>
    <dgm:cxn modelId="{5FD18FC8-2193-43B7-A4FE-1C4A82BC4D22}" type="presParOf" srcId="{370CEE7C-E49D-D144-8F58-273C61E09FC9}" destId="{14C0B1D4-98D6-4B30-84BB-C4BCEE9AF3AD}" srcOrd="12" destOrd="0" presId="urn:microsoft.com/office/officeart/2005/8/layout/hProcess11"/>
    <dgm:cxn modelId="{F7EC18EB-F79D-4005-ACAE-7B2461481717}" type="presParOf" srcId="{14C0B1D4-98D6-4B30-84BB-C4BCEE9AF3AD}" destId="{F7C9C71B-9244-460E-B2D6-D7BED0435C1E}" srcOrd="0" destOrd="0" presId="urn:microsoft.com/office/officeart/2005/8/layout/hProcess11"/>
    <dgm:cxn modelId="{366F4CC3-3AB9-455F-B88B-53F3452D0DD5}" type="presParOf" srcId="{14C0B1D4-98D6-4B30-84BB-C4BCEE9AF3AD}" destId="{02586398-89C5-4F86-B98A-4FB58EE6F5A1}" srcOrd="1" destOrd="0" presId="urn:microsoft.com/office/officeart/2005/8/layout/hProcess11"/>
    <dgm:cxn modelId="{30B445F5-97D3-48F7-BFF9-492772B2485E}" type="presParOf" srcId="{14C0B1D4-98D6-4B30-84BB-C4BCEE9AF3AD}" destId="{704D5281-E8B5-40E5-A4B6-81453B6C0C30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F567598-3163-CA4F-AF8F-4ADC41DA5FBB}" type="doc">
      <dgm:prSet loTypeId="urn:microsoft.com/office/officeart/2005/8/layout/hProcess11" loCatId="" qsTypeId="urn:microsoft.com/office/officeart/2005/8/quickstyle/3D2" qsCatId="3D" csTypeId="urn:microsoft.com/office/officeart/2005/8/colors/colorful2" csCatId="colorful" phldr="1"/>
      <dgm:spPr/>
    </dgm:pt>
    <dgm:pt modelId="{E4448C9F-4B11-DC4D-B257-BB8A143A895A}">
      <dgm:prSet custT="1"/>
      <dgm:spPr>
        <a:xfrm>
          <a:off x="8194884" y="2610802"/>
          <a:ext cx="1231469" cy="1740535"/>
        </a:xfrm>
        <a:noFill/>
        <a:ln>
          <a:noFill/>
        </a:ln>
        <a:effectLst/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Fase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1 </a:t>
          </a:r>
          <a:r>
            <a:rPr lang="en-US" sz="2000" b="1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rogramación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abellones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7995F4B0-71EE-7F47-AC5B-19C82AEA60AB}" type="parTrans" cxnId="{36AEC9EC-8F94-0442-922C-531CB58E0561}">
      <dgm:prSet/>
      <dgm:spPr/>
      <dgm:t>
        <a:bodyPr/>
        <a:lstStyle/>
        <a:p>
          <a:endParaRPr lang="en-US"/>
        </a:p>
      </dgm:t>
    </dgm:pt>
    <dgm:pt modelId="{CA1E69B3-BFFE-2840-8ED2-4DF4AD2325A0}" type="sibTrans" cxnId="{36AEC9EC-8F94-0442-922C-531CB58E0561}">
      <dgm:prSet/>
      <dgm:spPr/>
      <dgm:t>
        <a:bodyPr/>
        <a:lstStyle/>
        <a:p>
          <a:endParaRPr lang="en-US"/>
        </a:p>
      </dgm:t>
    </dgm:pt>
    <dgm:pt modelId="{E48F928C-BE4F-E440-BB6E-21977CD2773D}">
      <dgm:prSet custT="1"/>
      <dgm:spPr>
        <a:xfrm>
          <a:off x="9447899" y="0"/>
          <a:ext cx="1375221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Acompañamient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aciente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e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espera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EA9AAA8B-73A6-1A45-9BEE-07197BBE91AC}" type="parTrans" cxnId="{4584DE81-746C-6846-AA74-F47718917AC7}">
      <dgm:prSet/>
      <dgm:spPr/>
      <dgm:t>
        <a:bodyPr/>
        <a:lstStyle/>
        <a:p>
          <a:endParaRPr lang="en-US"/>
        </a:p>
      </dgm:t>
    </dgm:pt>
    <dgm:pt modelId="{DC3EF182-5E10-874A-95F1-1B9930A6793E}" type="sibTrans" cxnId="{4584DE81-746C-6846-AA74-F47718917AC7}">
      <dgm:prSet/>
      <dgm:spPr/>
      <dgm:t>
        <a:bodyPr/>
        <a:lstStyle/>
        <a:p>
          <a:endParaRPr lang="en-US"/>
        </a:p>
      </dgm:t>
    </dgm:pt>
    <dgm:pt modelId="{8BEA8203-4FDC-C346-9FC8-CDFFC6737D03}">
      <dgm:prSet custT="1"/>
      <dgm:spPr>
        <a:xfrm>
          <a:off x="6163625" y="2610802"/>
          <a:ext cx="1001007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riorizació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LEQ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egú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riesg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anitario</a:t>
          </a:r>
          <a:r>
            <a:rPr lang="en-US" sz="2000" b="1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y TME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7576EDC6-57A0-8F4F-B158-3EC2ABBE8908}" type="parTrans" cxnId="{6D91A95E-7D06-174F-8269-5B118B6646B3}">
      <dgm:prSet/>
      <dgm:spPr/>
      <dgm:t>
        <a:bodyPr/>
        <a:lstStyle/>
        <a:p>
          <a:endParaRPr lang="en-US"/>
        </a:p>
      </dgm:t>
    </dgm:pt>
    <dgm:pt modelId="{5684582F-834C-1F41-9D77-E19292D8F9D6}" type="sibTrans" cxnId="{6D91A95E-7D06-174F-8269-5B118B6646B3}">
      <dgm:prSet/>
      <dgm:spPr/>
      <dgm:t>
        <a:bodyPr/>
        <a:lstStyle/>
        <a:p>
          <a:endParaRPr lang="en-US"/>
        </a:p>
      </dgm:t>
    </dgm:pt>
    <dgm:pt modelId="{1588E840-7613-354F-AFA3-5839216CA62E}">
      <dgm:prSet custT="1"/>
      <dgm:spPr>
        <a:xfrm>
          <a:off x="7186178" y="0"/>
          <a:ext cx="987159" cy="1740535"/>
        </a:xfrm>
        <a:noFill/>
        <a:ln>
          <a:noFill/>
        </a:ln>
        <a:effectLst/>
      </dgm:spPr>
      <dgm:t>
        <a:bodyPr/>
        <a:lstStyle/>
        <a:p>
          <a:pPr>
            <a:buNone/>
          </a:pP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eguimient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oblaciones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 con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modelo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Gestión</a:t>
          </a:r>
          <a:r>
            <a:rPr lang="en-US" sz="2000" b="1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Casos</a:t>
          </a:r>
          <a:endParaRPr lang="en-US" sz="2000" b="1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gm:t>
    </dgm:pt>
    <dgm:pt modelId="{256C42F5-0D27-6646-97D2-55C385D60727}" type="parTrans" cxnId="{47E7BC2C-7014-2840-8FA9-853847EF3F6E}">
      <dgm:prSet/>
      <dgm:spPr/>
      <dgm:t>
        <a:bodyPr/>
        <a:lstStyle/>
        <a:p>
          <a:endParaRPr lang="en-US"/>
        </a:p>
      </dgm:t>
    </dgm:pt>
    <dgm:pt modelId="{A9610E2F-25F4-634D-BA39-506591C3167E}" type="sibTrans" cxnId="{47E7BC2C-7014-2840-8FA9-853847EF3F6E}">
      <dgm:prSet/>
      <dgm:spPr/>
      <dgm:t>
        <a:bodyPr/>
        <a:lstStyle/>
        <a:p>
          <a:endParaRPr lang="en-US"/>
        </a:p>
      </dgm:t>
    </dgm:pt>
    <dgm:pt modelId="{D8C6F413-A0BF-F14F-B9CC-5602B5DAEA75}" type="pres">
      <dgm:prSet presAssocID="{AF567598-3163-CA4F-AF8F-4ADC41DA5FBB}" presName="Name0" presStyleCnt="0">
        <dgm:presLayoutVars>
          <dgm:dir/>
          <dgm:resizeHandles val="exact"/>
        </dgm:presLayoutVars>
      </dgm:prSet>
      <dgm:spPr/>
    </dgm:pt>
    <dgm:pt modelId="{94196524-F532-C644-967B-F96D4C2367D8}" type="pres">
      <dgm:prSet presAssocID="{AF567598-3163-CA4F-AF8F-4ADC41DA5FBB}" presName="arrow" presStyleLbl="bgShp" presStyleIdx="0" presStyleCnt="1"/>
      <dgm:spPr>
        <a:xfrm>
          <a:off x="0" y="1305401"/>
          <a:ext cx="12087225" cy="1740535"/>
        </a:xfrm>
        <a:prstGeom prst="notchedRightArrow">
          <a:avLst/>
        </a:prstGeom>
        <a:solidFill>
          <a:srgbClr val="00206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ysClr val="window" lastClr="FFFFFF"/>
          </a:contourClr>
        </a:sp3d>
      </dgm:spPr>
    </dgm:pt>
    <dgm:pt modelId="{370CEE7C-E49D-D144-8F58-273C61E09FC9}" type="pres">
      <dgm:prSet presAssocID="{AF567598-3163-CA4F-AF8F-4ADC41DA5FBB}" presName="points" presStyleCnt="0"/>
      <dgm:spPr/>
    </dgm:pt>
    <dgm:pt modelId="{DDB9590A-949E-4797-8BD6-4DB0AC387346}" type="pres">
      <dgm:prSet presAssocID="{8BEA8203-4FDC-C346-9FC8-CDFFC6737D03}" presName="compositeA" presStyleCnt="0"/>
      <dgm:spPr/>
    </dgm:pt>
    <dgm:pt modelId="{4318D04B-DE3B-4D5B-8777-58465F3E6F75}" type="pres">
      <dgm:prSet presAssocID="{8BEA8203-4FDC-C346-9FC8-CDFFC6737D03}" presName="textA" presStyleLbl="revTx" presStyleIdx="0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20970D90-8953-424B-B713-012F90AEFA40}" type="pres">
      <dgm:prSet presAssocID="{8BEA8203-4FDC-C346-9FC8-CDFFC6737D03}" presName="circleA" presStyleLbl="node1" presStyleIdx="0" presStyleCnt="4"/>
      <dgm:spPr/>
    </dgm:pt>
    <dgm:pt modelId="{5B63811A-EC3A-491C-98D5-3157A81BEE12}" type="pres">
      <dgm:prSet presAssocID="{8BEA8203-4FDC-C346-9FC8-CDFFC6737D03}" presName="spaceA" presStyleCnt="0"/>
      <dgm:spPr/>
    </dgm:pt>
    <dgm:pt modelId="{C486EA70-3431-FC47-B6AE-D203B312E4F6}" type="pres">
      <dgm:prSet presAssocID="{5684582F-834C-1F41-9D77-E19292D8F9D6}" presName="space" presStyleCnt="0"/>
      <dgm:spPr/>
    </dgm:pt>
    <dgm:pt modelId="{67767C5F-4F3B-41D9-99E8-8121D5C7AF7C}" type="pres">
      <dgm:prSet presAssocID="{1588E840-7613-354F-AFA3-5839216CA62E}" presName="compositeB" presStyleCnt="0"/>
      <dgm:spPr/>
    </dgm:pt>
    <dgm:pt modelId="{FC9DE822-771D-459A-9429-61D861E50902}" type="pres">
      <dgm:prSet presAssocID="{1588E840-7613-354F-AFA3-5839216CA62E}" presName="textB" presStyleLbl="revTx" presStyleIdx="1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A790C917-922F-4E76-AE67-0E74F30B5C4B}" type="pres">
      <dgm:prSet presAssocID="{1588E840-7613-354F-AFA3-5839216CA62E}" presName="circleB" presStyleLbl="node1" presStyleIdx="1" presStyleCnt="4"/>
      <dgm:spPr/>
    </dgm:pt>
    <dgm:pt modelId="{2C648DDB-B915-4D9A-88B0-CDD3213A5797}" type="pres">
      <dgm:prSet presAssocID="{1588E840-7613-354F-AFA3-5839216CA62E}" presName="spaceB" presStyleCnt="0"/>
      <dgm:spPr/>
    </dgm:pt>
    <dgm:pt modelId="{81B0AB41-CB7A-7841-B83C-A01488AD1D89}" type="pres">
      <dgm:prSet presAssocID="{A9610E2F-25F4-634D-BA39-506591C3167E}" presName="space" presStyleCnt="0"/>
      <dgm:spPr/>
    </dgm:pt>
    <dgm:pt modelId="{5FF043D5-94BE-4266-A699-ED0FCDC49D92}" type="pres">
      <dgm:prSet presAssocID="{E4448C9F-4B11-DC4D-B257-BB8A143A895A}" presName="compositeA" presStyleCnt="0"/>
      <dgm:spPr/>
    </dgm:pt>
    <dgm:pt modelId="{60F9695E-11A6-4818-B6A5-5E639B7CE124}" type="pres">
      <dgm:prSet presAssocID="{E4448C9F-4B11-DC4D-B257-BB8A143A895A}" presName="textA" presStyleLbl="revTx" presStyleIdx="2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E142046A-019C-4D45-85DE-816B0EC954B4}" type="pres">
      <dgm:prSet presAssocID="{E4448C9F-4B11-DC4D-B257-BB8A143A895A}" presName="circleA" presStyleLbl="node1" presStyleIdx="2" presStyleCnt="4"/>
      <dgm:spPr/>
    </dgm:pt>
    <dgm:pt modelId="{DB74D33D-2C3B-4AEB-A7B9-5C4C5F45FE77}" type="pres">
      <dgm:prSet presAssocID="{E4448C9F-4B11-DC4D-B257-BB8A143A895A}" presName="spaceA" presStyleCnt="0"/>
      <dgm:spPr/>
    </dgm:pt>
    <dgm:pt modelId="{7B43B412-5A30-2D43-BCBC-135150DD023F}" type="pres">
      <dgm:prSet presAssocID="{CA1E69B3-BFFE-2840-8ED2-4DF4AD2325A0}" presName="space" presStyleCnt="0"/>
      <dgm:spPr/>
    </dgm:pt>
    <dgm:pt modelId="{C74A196D-62D4-4A16-9B19-056423007DC1}" type="pres">
      <dgm:prSet presAssocID="{E48F928C-BE4F-E440-BB6E-21977CD2773D}" presName="compositeB" presStyleCnt="0"/>
      <dgm:spPr/>
    </dgm:pt>
    <dgm:pt modelId="{28926BF6-2C0A-4E5B-AAF1-A450BB05BB6D}" type="pres">
      <dgm:prSet presAssocID="{E48F928C-BE4F-E440-BB6E-21977CD2773D}" presName="textB" presStyleLbl="revTx" presStyleIdx="3" presStyleCnt="4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F6B700AC-1577-4C2C-89A2-28FFF11FE873}" type="pres">
      <dgm:prSet presAssocID="{E48F928C-BE4F-E440-BB6E-21977CD2773D}" presName="circleB" presStyleLbl="node1" presStyleIdx="3" presStyleCnt="4"/>
      <dgm:spPr/>
    </dgm:pt>
    <dgm:pt modelId="{678FD8A3-BC57-4D3D-9C6E-FAD02896C3E4}" type="pres">
      <dgm:prSet presAssocID="{E48F928C-BE4F-E440-BB6E-21977CD2773D}" presName="spaceB" presStyleCnt="0"/>
      <dgm:spPr/>
    </dgm:pt>
  </dgm:ptLst>
  <dgm:cxnLst>
    <dgm:cxn modelId="{4584DE81-746C-6846-AA74-F47718917AC7}" srcId="{AF567598-3163-CA4F-AF8F-4ADC41DA5FBB}" destId="{E48F928C-BE4F-E440-BB6E-21977CD2773D}" srcOrd="3" destOrd="0" parTransId="{EA9AAA8B-73A6-1A45-9BEE-07197BBE91AC}" sibTransId="{DC3EF182-5E10-874A-95F1-1B9930A6793E}"/>
    <dgm:cxn modelId="{1F20AAA9-E191-4D61-AB05-0D69AB89CCC9}" type="presOf" srcId="{E4448C9F-4B11-DC4D-B257-BB8A143A895A}" destId="{60F9695E-11A6-4818-B6A5-5E639B7CE124}" srcOrd="0" destOrd="0" presId="urn:microsoft.com/office/officeart/2005/8/layout/hProcess11"/>
    <dgm:cxn modelId="{36AEC9EC-8F94-0442-922C-531CB58E0561}" srcId="{AF567598-3163-CA4F-AF8F-4ADC41DA5FBB}" destId="{E4448C9F-4B11-DC4D-B257-BB8A143A895A}" srcOrd="2" destOrd="0" parTransId="{7995F4B0-71EE-7F47-AC5B-19C82AEA60AB}" sibTransId="{CA1E69B3-BFFE-2840-8ED2-4DF4AD2325A0}"/>
    <dgm:cxn modelId="{E00AF1E4-99E7-4B0A-BF95-8FE971B78ABF}" type="presOf" srcId="{1588E840-7613-354F-AFA3-5839216CA62E}" destId="{FC9DE822-771D-459A-9429-61D861E50902}" srcOrd="0" destOrd="0" presId="urn:microsoft.com/office/officeart/2005/8/layout/hProcess11"/>
    <dgm:cxn modelId="{6D91A95E-7D06-174F-8269-5B118B6646B3}" srcId="{AF567598-3163-CA4F-AF8F-4ADC41DA5FBB}" destId="{8BEA8203-4FDC-C346-9FC8-CDFFC6737D03}" srcOrd="0" destOrd="0" parTransId="{7576EDC6-57A0-8F4F-B158-3EC2ABBE8908}" sibTransId="{5684582F-834C-1F41-9D77-E19292D8F9D6}"/>
    <dgm:cxn modelId="{47E7BC2C-7014-2840-8FA9-853847EF3F6E}" srcId="{AF567598-3163-CA4F-AF8F-4ADC41DA5FBB}" destId="{1588E840-7613-354F-AFA3-5839216CA62E}" srcOrd="1" destOrd="0" parTransId="{256C42F5-0D27-6646-97D2-55C385D60727}" sibTransId="{A9610E2F-25F4-634D-BA39-506591C3167E}"/>
    <dgm:cxn modelId="{2407CA08-463E-46B7-A928-62E263F3AF01}" type="presOf" srcId="{E48F928C-BE4F-E440-BB6E-21977CD2773D}" destId="{28926BF6-2C0A-4E5B-AAF1-A450BB05BB6D}" srcOrd="0" destOrd="0" presId="urn:microsoft.com/office/officeart/2005/8/layout/hProcess11"/>
    <dgm:cxn modelId="{EF6B2FEB-6A37-4DAF-B653-4D45C824A915}" type="presOf" srcId="{8BEA8203-4FDC-C346-9FC8-CDFFC6737D03}" destId="{4318D04B-DE3B-4D5B-8777-58465F3E6F75}" srcOrd="0" destOrd="0" presId="urn:microsoft.com/office/officeart/2005/8/layout/hProcess11"/>
    <dgm:cxn modelId="{E4379302-F707-416B-BECB-8A4A693218BC}" type="presOf" srcId="{AF567598-3163-CA4F-AF8F-4ADC41DA5FBB}" destId="{D8C6F413-A0BF-F14F-B9CC-5602B5DAEA75}" srcOrd="0" destOrd="0" presId="urn:microsoft.com/office/officeart/2005/8/layout/hProcess11"/>
    <dgm:cxn modelId="{79650976-8F9A-4D00-AE10-2689A744E427}" type="presParOf" srcId="{D8C6F413-A0BF-F14F-B9CC-5602B5DAEA75}" destId="{94196524-F532-C644-967B-F96D4C2367D8}" srcOrd="0" destOrd="0" presId="urn:microsoft.com/office/officeart/2005/8/layout/hProcess11"/>
    <dgm:cxn modelId="{5D25F953-7C46-411A-8C0C-E42EA5E95BA9}" type="presParOf" srcId="{D8C6F413-A0BF-F14F-B9CC-5602B5DAEA75}" destId="{370CEE7C-E49D-D144-8F58-273C61E09FC9}" srcOrd="1" destOrd="0" presId="urn:microsoft.com/office/officeart/2005/8/layout/hProcess11"/>
    <dgm:cxn modelId="{2316A57E-3A87-47EA-BB85-480F4C18CF05}" type="presParOf" srcId="{370CEE7C-E49D-D144-8F58-273C61E09FC9}" destId="{DDB9590A-949E-4797-8BD6-4DB0AC387346}" srcOrd="0" destOrd="0" presId="urn:microsoft.com/office/officeart/2005/8/layout/hProcess11"/>
    <dgm:cxn modelId="{FF5EB8BD-E02C-45BC-90C3-AA74A9A20B4C}" type="presParOf" srcId="{DDB9590A-949E-4797-8BD6-4DB0AC387346}" destId="{4318D04B-DE3B-4D5B-8777-58465F3E6F75}" srcOrd="0" destOrd="0" presId="urn:microsoft.com/office/officeart/2005/8/layout/hProcess11"/>
    <dgm:cxn modelId="{417CC0E4-69A0-4931-AED0-A286FD78CD4C}" type="presParOf" srcId="{DDB9590A-949E-4797-8BD6-4DB0AC387346}" destId="{20970D90-8953-424B-B713-012F90AEFA40}" srcOrd="1" destOrd="0" presId="urn:microsoft.com/office/officeart/2005/8/layout/hProcess11"/>
    <dgm:cxn modelId="{8F474633-9003-4CE5-B2DD-94E6CA3B1BF6}" type="presParOf" srcId="{DDB9590A-949E-4797-8BD6-4DB0AC387346}" destId="{5B63811A-EC3A-491C-98D5-3157A81BEE12}" srcOrd="2" destOrd="0" presId="urn:microsoft.com/office/officeart/2005/8/layout/hProcess11"/>
    <dgm:cxn modelId="{4BA88B86-5714-4ACA-AAEA-14119694048C}" type="presParOf" srcId="{370CEE7C-E49D-D144-8F58-273C61E09FC9}" destId="{C486EA70-3431-FC47-B6AE-D203B312E4F6}" srcOrd="1" destOrd="0" presId="urn:microsoft.com/office/officeart/2005/8/layout/hProcess11"/>
    <dgm:cxn modelId="{222D4C6E-61B2-444F-912E-A8616C115205}" type="presParOf" srcId="{370CEE7C-E49D-D144-8F58-273C61E09FC9}" destId="{67767C5F-4F3B-41D9-99E8-8121D5C7AF7C}" srcOrd="2" destOrd="0" presId="urn:microsoft.com/office/officeart/2005/8/layout/hProcess11"/>
    <dgm:cxn modelId="{D3FC9F1F-6569-4CBF-BEE4-191EB24CCD7B}" type="presParOf" srcId="{67767C5F-4F3B-41D9-99E8-8121D5C7AF7C}" destId="{FC9DE822-771D-459A-9429-61D861E50902}" srcOrd="0" destOrd="0" presId="urn:microsoft.com/office/officeart/2005/8/layout/hProcess11"/>
    <dgm:cxn modelId="{3752CF37-30CC-42A7-A513-43B36630073B}" type="presParOf" srcId="{67767C5F-4F3B-41D9-99E8-8121D5C7AF7C}" destId="{A790C917-922F-4E76-AE67-0E74F30B5C4B}" srcOrd="1" destOrd="0" presId="urn:microsoft.com/office/officeart/2005/8/layout/hProcess11"/>
    <dgm:cxn modelId="{D0A08E68-E498-4D78-BA98-68BE4260A40F}" type="presParOf" srcId="{67767C5F-4F3B-41D9-99E8-8121D5C7AF7C}" destId="{2C648DDB-B915-4D9A-88B0-CDD3213A5797}" srcOrd="2" destOrd="0" presId="urn:microsoft.com/office/officeart/2005/8/layout/hProcess11"/>
    <dgm:cxn modelId="{250DB512-A102-420D-93EE-F56828C1C519}" type="presParOf" srcId="{370CEE7C-E49D-D144-8F58-273C61E09FC9}" destId="{81B0AB41-CB7A-7841-B83C-A01488AD1D89}" srcOrd="3" destOrd="0" presId="urn:microsoft.com/office/officeart/2005/8/layout/hProcess11"/>
    <dgm:cxn modelId="{009C9875-07F1-4CDB-8529-DF12A4A4D5BD}" type="presParOf" srcId="{370CEE7C-E49D-D144-8F58-273C61E09FC9}" destId="{5FF043D5-94BE-4266-A699-ED0FCDC49D92}" srcOrd="4" destOrd="0" presId="urn:microsoft.com/office/officeart/2005/8/layout/hProcess11"/>
    <dgm:cxn modelId="{FDD3C072-D643-4029-993B-391212482C18}" type="presParOf" srcId="{5FF043D5-94BE-4266-A699-ED0FCDC49D92}" destId="{60F9695E-11A6-4818-B6A5-5E639B7CE124}" srcOrd="0" destOrd="0" presId="urn:microsoft.com/office/officeart/2005/8/layout/hProcess11"/>
    <dgm:cxn modelId="{78974635-D84D-4AE3-BE34-60934CEB2787}" type="presParOf" srcId="{5FF043D5-94BE-4266-A699-ED0FCDC49D92}" destId="{E142046A-019C-4D45-85DE-816B0EC954B4}" srcOrd="1" destOrd="0" presId="urn:microsoft.com/office/officeart/2005/8/layout/hProcess11"/>
    <dgm:cxn modelId="{94F7B524-6BC3-4E24-B37E-DA0A543A7690}" type="presParOf" srcId="{5FF043D5-94BE-4266-A699-ED0FCDC49D92}" destId="{DB74D33D-2C3B-4AEB-A7B9-5C4C5F45FE77}" srcOrd="2" destOrd="0" presId="urn:microsoft.com/office/officeart/2005/8/layout/hProcess11"/>
    <dgm:cxn modelId="{83DED5EA-501A-4004-95B4-DF899BF87DA7}" type="presParOf" srcId="{370CEE7C-E49D-D144-8F58-273C61E09FC9}" destId="{7B43B412-5A30-2D43-BCBC-135150DD023F}" srcOrd="5" destOrd="0" presId="urn:microsoft.com/office/officeart/2005/8/layout/hProcess11"/>
    <dgm:cxn modelId="{D030E304-2E6C-4822-A2D7-D31F12025A47}" type="presParOf" srcId="{370CEE7C-E49D-D144-8F58-273C61E09FC9}" destId="{C74A196D-62D4-4A16-9B19-056423007DC1}" srcOrd="6" destOrd="0" presId="urn:microsoft.com/office/officeart/2005/8/layout/hProcess11"/>
    <dgm:cxn modelId="{653CCC36-4D48-4C55-A4D4-9AC2EB45645E}" type="presParOf" srcId="{C74A196D-62D4-4A16-9B19-056423007DC1}" destId="{28926BF6-2C0A-4E5B-AAF1-A450BB05BB6D}" srcOrd="0" destOrd="0" presId="urn:microsoft.com/office/officeart/2005/8/layout/hProcess11"/>
    <dgm:cxn modelId="{FF83E67C-9D01-42E1-AB3D-08405A7BFEE9}" type="presParOf" srcId="{C74A196D-62D4-4A16-9B19-056423007DC1}" destId="{F6B700AC-1577-4C2C-89A2-28FFF11FE873}" srcOrd="1" destOrd="0" presId="urn:microsoft.com/office/officeart/2005/8/layout/hProcess11"/>
    <dgm:cxn modelId="{DC0046B5-581D-4EE7-B005-A520014D9D84}" type="presParOf" srcId="{C74A196D-62D4-4A16-9B19-056423007DC1}" destId="{678FD8A3-BC57-4D3D-9C6E-FAD02896C3E4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9196CF-42EE-A745-8A67-5E655E1770E7}">
      <dsp:nvSpPr>
        <dsp:cNvPr id="0" name=""/>
        <dsp:cNvSpPr/>
      </dsp:nvSpPr>
      <dsp:spPr>
        <a:xfrm>
          <a:off x="5690" y="1088134"/>
          <a:ext cx="2919457" cy="1167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/>
            <a:t>Definiciones</a:t>
          </a:r>
          <a:r>
            <a:rPr lang="en-US" sz="2000" kern="1200" dirty="0"/>
            <a:t> con que se </a:t>
          </a:r>
          <a:r>
            <a:rPr lang="en-US" sz="2000" kern="1200" dirty="0" err="1"/>
            <a:t>gestionan</a:t>
          </a:r>
          <a:r>
            <a:rPr lang="en-US" sz="2000" kern="1200" dirty="0"/>
            <a:t> las LE No GES:</a:t>
          </a:r>
        </a:p>
      </dsp:txBody>
      <dsp:txXfrm>
        <a:off x="589582" y="1088134"/>
        <a:ext cx="1751674" cy="1167783"/>
      </dsp:txXfrm>
    </dsp:sp>
    <dsp:sp modelId="{8F650845-BAA8-FC41-AD51-758CB6243112}">
      <dsp:nvSpPr>
        <dsp:cNvPr id="0" name=""/>
        <dsp:cNvSpPr/>
      </dsp:nvSpPr>
      <dsp:spPr>
        <a:xfrm>
          <a:off x="2545619" y="1187396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No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considera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tiempo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resolución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razonable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3030249" y="1187396"/>
        <a:ext cx="1453890" cy="969260"/>
      </dsp:txXfrm>
    </dsp:sp>
    <dsp:sp modelId="{A78AF334-B931-C143-8C5F-33CA410BB629}">
      <dsp:nvSpPr>
        <dsp:cNvPr id="0" name=""/>
        <dsp:cNvSpPr/>
      </dsp:nvSpPr>
      <dsp:spPr>
        <a:xfrm>
          <a:off x="4629528" y="1187396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Causale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egreso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poco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claras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5114158" y="1187396"/>
        <a:ext cx="1453890" cy="969260"/>
      </dsp:txXfrm>
    </dsp:sp>
    <dsp:sp modelId="{3F46F74B-D796-EC4E-AF21-AEE442DFD98A}">
      <dsp:nvSpPr>
        <dsp:cNvPr id="0" name=""/>
        <dsp:cNvSpPr/>
      </dsp:nvSpPr>
      <dsp:spPr>
        <a:xfrm>
          <a:off x="5690" y="2419407"/>
          <a:ext cx="2919457" cy="1167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/>
            <a:t>Respecto</a:t>
          </a:r>
          <a:r>
            <a:rPr lang="en-US" sz="2000" kern="1200" dirty="0"/>
            <a:t> del </a:t>
          </a:r>
          <a:r>
            <a:rPr lang="en-US" sz="2000" kern="1200" dirty="0" err="1"/>
            <a:t>registro</a:t>
          </a:r>
          <a:r>
            <a:rPr lang="en-US" sz="2000" kern="1200" dirty="0"/>
            <a:t>:</a:t>
          </a:r>
        </a:p>
      </dsp:txBody>
      <dsp:txXfrm>
        <a:off x="589582" y="2419407"/>
        <a:ext cx="1751674" cy="1167783"/>
      </dsp:txXfrm>
    </dsp:sp>
    <dsp:sp modelId="{6E4F51D2-892F-C84E-8E92-9878F4CC1470}">
      <dsp:nvSpPr>
        <dsp:cNvPr id="0" name=""/>
        <dsp:cNvSpPr/>
      </dsp:nvSpPr>
      <dsp:spPr>
        <a:xfrm>
          <a:off x="2545619" y="2518668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Hipótesi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diagnóstica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no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estandarizada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3030249" y="2518668"/>
        <a:ext cx="1453890" cy="969260"/>
      </dsp:txXfrm>
    </dsp:sp>
    <dsp:sp modelId="{9CA22DF2-C052-EC4F-8FA8-643DF30AF01E}">
      <dsp:nvSpPr>
        <dsp:cNvPr id="0" name=""/>
        <dsp:cNvSpPr/>
      </dsp:nvSpPr>
      <dsp:spPr>
        <a:xfrm>
          <a:off x="4629528" y="2518668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Antecedente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clínico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no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estandarizado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ni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obligatorios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5114158" y="2518668"/>
        <a:ext cx="1453890" cy="969260"/>
      </dsp:txXfrm>
    </dsp:sp>
    <dsp:sp modelId="{9BED7C7E-2855-8F41-AD74-F596BA087FF8}">
      <dsp:nvSpPr>
        <dsp:cNvPr id="0" name=""/>
        <dsp:cNvSpPr/>
      </dsp:nvSpPr>
      <dsp:spPr>
        <a:xfrm>
          <a:off x="6713437" y="2518668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Carga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dato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sin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límite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temporales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7198067" y="2518668"/>
        <a:ext cx="1453890" cy="969260"/>
      </dsp:txXfrm>
    </dsp:sp>
    <dsp:sp modelId="{92E7A3C9-D98B-964F-BA5A-4B25E2CD9DD7}">
      <dsp:nvSpPr>
        <dsp:cNvPr id="0" name=""/>
        <dsp:cNvSpPr/>
      </dsp:nvSpPr>
      <dsp:spPr>
        <a:xfrm>
          <a:off x="5690" y="3750680"/>
          <a:ext cx="2919457" cy="116778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13335" rIns="0" bIns="1333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/>
            <a:t>Procesos</a:t>
          </a:r>
          <a:r>
            <a:rPr lang="en-US" sz="2100" kern="1200" dirty="0"/>
            <a:t> de </a:t>
          </a:r>
          <a:r>
            <a:rPr lang="en-US" sz="2100" kern="1200" dirty="0" err="1"/>
            <a:t>Producción</a:t>
          </a:r>
          <a:r>
            <a:rPr lang="en-US" sz="2100" kern="1200" dirty="0"/>
            <a:t> de </a:t>
          </a:r>
          <a:r>
            <a:rPr lang="en-US" sz="2100" kern="1200" dirty="0" err="1"/>
            <a:t>Información</a:t>
          </a:r>
          <a:r>
            <a:rPr lang="en-US" sz="2100" kern="1200" dirty="0"/>
            <a:t>:</a:t>
          </a:r>
        </a:p>
      </dsp:txBody>
      <dsp:txXfrm>
        <a:off x="589582" y="3750680"/>
        <a:ext cx="1751674" cy="1167783"/>
      </dsp:txXfrm>
    </dsp:sp>
    <dsp:sp modelId="{DF6B9A05-D735-F14C-AC78-29AC6DBB4708}">
      <dsp:nvSpPr>
        <dsp:cNvPr id="0" name=""/>
        <dsp:cNvSpPr/>
      </dsp:nvSpPr>
      <dsp:spPr>
        <a:xfrm>
          <a:off x="2545619" y="3849941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Validación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no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formalizada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,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ni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permanente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,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ni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automatizada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3030249" y="3849941"/>
        <a:ext cx="1453890" cy="969260"/>
      </dsp:txXfrm>
    </dsp:sp>
    <dsp:sp modelId="{E3EE2404-F84B-FA40-9DE2-717660547475}">
      <dsp:nvSpPr>
        <dsp:cNvPr id="0" name=""/>
        <dsp:cNvSpPr/>
      </dsp:nvSpPr>
      <dsp:spPr>
        <a:xfrm>
          <a:off x="4629528" y="3849941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Alta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probabilidad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duplicación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de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datos</a:t>
          </a:r>
          <a:endParaRPr lang="en-US" sz="1600" kern="1200" dirty="0">
            <a:solidFill>
              <a:schemeClr val="accent6">
                <a:lumMod val="75000"/>
              </a:schemeClr>
            </a:solidFill>
          </a:endParaRPr>
        </a:p>
      </dsp:txBody>
      <dsp:txXfrm>
        <a:off x="5114158" y="3849941"/>
        <a:ext cx="1453890" cy="969260"/>
      </dsp:txXfrm>
    </dsp:sp>
    <dsp:sp modelId="{D0A7B2F6-787F-884F-986A-42C34A2CEF3A}">
      <dsp:nvSpPr>
        <dsp:cNvPr id="0" name=""/>
        <dsp:cNvSpPr/>
      </dsp:nvSpPr>
      <dsp:spPr>
        <a:xfrm>
          <a:off x="6713437" y="3849941"/>
          <a:ext cx="2423150" cy="969260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10160" rIns="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Calidad de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dato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 (sin </a:t>
          </a:r>
          <a:r>
            <a:rPr lang="en-US" sz="1600" kern="1200" dirty="0" err="1">
              <a:solidFill>
                <a:schemeClr val="accent6">
                  <a:lumMod val="75000"/>
                </a:schemeClr>
              </a:solidFill>
            </a:rPr>
            <a:t>validadores</a:t>
          </a:r>
          <a:r>
            <a:rPr lang="en-US" sz="1600" kern="1200" dirty="0">
              <a:solidFill>
                <a:schemeClr val="accent6">
                  <a:lumMod val="75000"/>
                </a:schemeClr>
              </a:solidFill>
            </a:rPr>
            <a:t>)</a:t>
          </a:r>
        </a:p>
      </dsp:txBody>
      <dsp:txXfrm>
        <a:off x="7198067" y="3849941"/>
        <a:ext cx="1453890" cy="9692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377012-1B23-4D44-BE4F-46AC5CAB4CFA}">
      <dsp:nvSpPr>
        <dsp:cNvPr id="0" name=""/>
        <dsp:cNvSpPr/>
      </dsp:nvSpPr>
      <dsp:spPr>
        <a:xfrm>
          <a:off x="1221978" y="2645"/>
          <a:ext cx="2706687" cy="1624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err="1"/>
            <a:t>Centrado</a:t>
          </a:r>
          <a:r>
            <a:rPr lang="en-US" sz="2800" kern="1200" dirty="0"/>
            <a:t> </a:t>
          </a:r>
          <a:r>
            <a:rPr lang="en-US" sz="2800" kern="1200" dirty="0" err="1"/>
            <a:t>en</a:t>
          </a:r>
          <a:r>
            <a:rPr lang="en-US" sz="2800" kern="1200" dirty="0"/>
            <a:t> </a:t>
          </a:r>
          <a:r>
            <a:rPr lang="en-US" sz="2800" kern="1200" dirty="0" err="1"/>
            <a:t>eventos</a:t>
          </a:r>
          <a:r>
            <a:rPr lang="en-US" sz="2800" kern="1200" dirty="0"/>
            <a:t>, no </a:t>
          </a:r>
          <a:r>
            <a:rPr lang="en-US" sz="2800" kern="1200" dirty="0" err="1"/>
            <a:t>en</a:t>
          </a:r>
          <a:r>
            <a:rPr lang="en-US" sz="2800" kern="1200" dirty="0"/>
            <a:t> personas </a:t>
          </a:r>
        </a:p>
      </dsp:txBody>
      <dsp:txXfrm>
        <a:off x="1221978" y="2645"/>
        <a:ext cx="2706687" cy="1624012"/>
      </dsp:txXfrm>
    </dsp:sp>
    <dsp:sp modelId="{04582DB6-7448-1445-BEF7-0F97D4E8C18F}">
      <dsp:nvSpPr>
        <dsp:cNvPr id="0" name=""/>
        <dsp:cNvSpPr/>
      </dsp:nvSpPr>
      <dsp:spPr>
        <a:xfrm>
          <a:off x="4199334" y="2645"/>
          <a:ext cx="2706687" cy="1624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/>
            <a:t>No hay </a:t>
          </a:r>
          <a:r>
            <a:rPr lang="en-US" sz="2500" kern="1200" dirty="0" err="1"/>
            <a:t>validadores</a:t>
          </a:r>
          <a:r>
            <a:rPr lang="en-US" sz="2500" kern="1200" dirty="0"/>
            <a:t> de </a:t>
          </a:r>
          <a:r>
            <a:rPr lang="en-US" sz="2500" kern="1200" dirty="0" err="1"/>
            <a:t>calidad</a:t>
          </a:r>
          <a:r>
            <a:rPr lang="en-US" sz="2500" kern="1200" dirty="0"/>
            <a:t> de </a:t>
          </a:r>
          <a:r>
            <a:rPr lang="en-US" sz="2500" kern="1200" dirty="0" err="1"/>
            <a:t>datos</a:t>
          </a:r>
          <a:endParaRPr lang="en-US" sz="2500" kern="1200" dirty="0"/>
        </a:p>
      </dsp:txBody>
      <dsp:txXfrm>
        <a:off x="4199334" y="2645"/>
        <a:ext cx="2706687" cy="1624012"/>
      </dsp:txXfrm>
    </dsp:sp>
    <dsp:sp modelId="{E37219DC-5061-5146-A0B4-AE86A3CEFA28}">
      <dsp:nvSpPr>
        <dsp:cNvPr id="0" name=""/>
        <dsp:cNvSpPr/>
      </dsp:nvSpPr>
      <dsp:spPr>
        <a:xfrm>
          <a:off x="1221978" y="1897327"/>
          <a:ext cx="2706687" cy="1624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err="1"/>
            <a:t>Problemas</a:t>
          </a:r>
          <a:r>
            <a:rPr lang="en-US" sz="2500" kern="1200" dirty="0"/>
            <a:t> de </a:t>
          </a:r>
          <a:r>
            <a:rPr lang="en-US" sz="2500" kern="1200" dirty="0" err="1"/>
            <a:t>registro</a:t>
          </a:r>
          <a:endParaRPr lang="en-US" sz="2500" kern="1200" dirty="0"/>
        </a:p>
      </dsp:txBody>
      <dsp:txXfrm>
        <a:off x="1221978" y="1897327"/>
        <a:ext cx="2706687" cy="1624012"/>
      </dsp:txXfrm>
    </dsp:sp>
    <dsp:sp modelId="{3CAE2127-2F92-DA4B-81DB-6B1C870CD920}">
      <dsp:nvSpPr>
        <dsp:cNvPr id="0" name=""/>
        <dsp:cNvSpPr/>
      </dsp:nvSpPr>
      <dsp:spPr>
        <a:xfrm>
          <a:off x="4199334" y="1897327"/>
          <a:ext cx="2706687" cy="1624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/>
            <a:t>Sistema opera </a:t>
          </a:r>
          <a:r>
            <a:rPr lang="en-US" sz="2500" kern="1200" dirty="0" err="1"/>
            <a:t>como</a:t>
          </a:r>
          <a:r>
            <a:rPr lang="en-US" sz="2500" kern="1200" dirty="0"/>
            <a:t> Sistema de </a:t>
          </a:r>
          <a:r>
            <a:rPr lang="en-US" sz="2500" kern="1200" dirty="0" err="1"/>
            <a:t>rendición</a:t>
          </a:r>
          <a:r>
            <a:rPr lang="en-US" sz="2500" kern="1200" dirty="0"/>
            <a:t> de </a:t>
          </a:r>
          <a:r>
            <a:rPr lang="en-US" sz="2500" kern="1200" dirty="0" err="1"/>
            <a:t>cuentas</a:t>
          </a:r>
          <a:endParaRPr lang="en-US" sz="2500" kern="1200" dirty="0"/>
        </a:p>
      </dsp:txBody>
      <dsp:txXfrm>
        <a:off x="4199334" y="1897327"/>
        <a:ext cx="2706687" cy="1624012"/>
      </dsp:txXfrm>
    </dsp:sp>
    <dsp:sp modelId="{12BB9BEA-824A-8543-BA7D-F4B75372A68C}">
      <dsp:nvSpPr>
        <dsp:cNvPr id="0" name=""/>
        <dsp:cNvSpPr/>
      </dsp:nvSpPr>
      <dsp:spPr>
        <a:xfrm>
          <a:off x="1221978" y="3792008"/>
          <a:ext cx="2706687" cy="1624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/>
            <a:t>No </a:t>
          </a:r>
          <a:r>
            <a:rPr lang="en-US" sz="2500" kern="1200" dirty="0" err="1"/>
            <a:t>está</a:t>
          </a:r>
          <a:r>
            <a:rPr lang="en-US" sz="2500" kern="1200" dirty="0"/>
            <a:t> </a:t>
          </a:r>
          <a:r>
            <a:rPr lang="en-US" sz="2500" kern="1200" dirty="0" err="1"/>
            <a:t>integrado</a:t>
          </a:r>
          <a:r>
            <a:rPr lang="en-US" sz="2500" kern="1200" dirty="0"/>
            <a:t> con </a:t>
          </a:r>
          <a:r>
            <a:rPr lang="en-US" sz="2500" kern="1200" dirty="0" err="1"/>
            <a:t>ningún</a:t>
          </a:r>
          <a:r>
            <a:rPr lang="en-US" sz="2500" kern="1200" dirty="0"/>
            <a:t> </a:t>
          </a:r>
          <a:r>
            <a:rPr lang="en-US" sz="2500" kern="1200" dirty="0" err="1"/>
            <a:t>otro</a:t>
          </a:r>
          <a:r>
            <a:rPr lang="en-US" sz="2500" kern="1200" dirty="0"/>
            <a:t> Sistema de </a:t>
          </a:r>
          <a:r>
            <a:rPr lang="en-US" sz="2500" kern="1200" dirty="0" err="1"/>
            <a:t>información</a:t>
          </a:r>
          <a:endParaRPr lang="en-US" sz="2500" kern="1200" dirty="0"/>
        </a:p>
      </dsp:txBody>
      <dsp:txXfrm>
        <a:off x="1221978" y="3792008"/>
        <a:ext cx="2706687" cy="1624012"/>
      </dsp:txXfrm>
    </dsp:sp>
    <dsp:sp modelId="{7B0FDF1F-8FD1-B749-9BC9-70D1527E0414}">
      <dsp:nvSpPr>
        <dsp:cNvPr id="0" name=""/>
        <dsp:cNvSpPr/>
      </dsp:nvSpPr>
      <dsp:spPr>
        <a:xfrm>
          <a:off x="4199334" y="3792008"/>
          <a:ext cx="2706687" cy="162401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err="1"/>
            <a:t>Poco</a:t>
          </a:r>
          <a:r>
            <a:rPr lang="en-US" sz="2500" kern="1200" dirty="0"/>
            <a:t> </a:t>
          </a:r>
          <a:r>
            <a:rPr lang="en-US" sz="2500" kern="1200" dirty="0" err="1"/>
            <a:t>uso</a:t>
          </a:r>
          <a:r>
            <a:rPr lang="en-US" sz="2500" kern="1200" dirty="0"/>
            <a:t> de </a:t>
          </a:r>
          <a:r>
            <a:rPr lang="en-US" sz="2500" kern="1200" dirty="0" err="1"/>
            <a:t>herramientas</a:t>
          </a:r>
          <a:r>
            <a:rPr lang="en-US" sz="2500" kern="1200" dirty="0"/>
            <a:t> </a:t>
          </a:r>
          <a:r>
            <a:rPr lang="en-US" sz="2500" kern="1200" dirty="0" err="1"/>
            <a:t>analíticas</a:t>
          </a:r>
          <a:endParaRPr lang="en-US" sz="2500" kern="1200" dirty="0"/>
        </a:p>
      </dsp:txBody>
      <dsp:txXfrm>
        <a:off x="4199334" y="3792008"/>
        <a:ext cx="2706687" cy="16240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B52514-6464-E14F-AA5F-D725DD92BB9C}">
      <dsp:nvSpPr>
        <dsp:cNvPr id="0" name=""/>
        <dsp:cNvSpPr/>
      </dsp:nvSpPr>
      <dsp:spPr>
        <a:xfrm rot="10800000">
          <a:off x="1828227" y="323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/>
            <a:t>Establecer</a:t>
          </a:r>
          <a:r>
            <a:rPr lang="en-US" sz="2400" kern="1200" dirty="0"/>
            <a:t> </a:t>
          </a:r>
          <a:r>
            <a:rPr lang="en-US" sz="2400" kern="1200" dirty="0" err="1"/>
            <a:t>protocolos</a:t>
          </a:r>
          <a:r>
            <a:rPr lang="en-US" sz="2400" kern="1200" dirty="0"/>
            <a:t> y </a:t>
          </a:r>
          <a:r>
            <a:rPr lang="en-US" sz="2400" kern="1200" dirty="0" err="1"/>
            <a:t>criterios</a:t>
          </a:r>
          <a:r>
            <a:rPr lang="en-US" sz="2400" kern="1200" dirty="0"/>
            <a:t> de </a:t>
          </a:r>
          <a:r>
            <a:rPr lang="en-US" sz="2400" kern="1200" dirty="0" err="1"/>
            <a:t>priorización</a:t>
          </a:r>
          <a:r>
            <a:rPr lang="en-US" sz="2400" kern="1200" dirty="0"/>
            <a:t>, </a:t>
          </a:r>
          <a:r>
            <a:rPr lang="en-US" sz="2400" kern="1200" dirty="0" err="1"/>
            <a:t>según</a:t>
          </a:r>
          <a:r>
            <a:rPr lang="en-US" sz="2400" kern="1200" dirty="0"/>
            <a:t> </a:t>
          </a:r>
          <a:r>
            <a:rPr lang="en-US" sz="2400" kern="1200" dirty="0" err="1"/>
            <a:t>criterios</a:t>
          </a:r>
          <a:r>
            <a:rPr lang="en-US" sz="2400" kern="1200" dirty="0"/>
            <a:t> de </a:t>
          </a:r>
          <a:r>
            <a:rPr lang="en-US" sz="2400" kern="1200" dirty="0" err="1"/>
            <a:t>riesgo</a:t>
          </a:r>
          <a:endParaRPr lang="en-US" sz="2400" kern="1200" dirty="0"/>
        </a:p>
      </dsp:txBody>
      <dsp:txXfrm rot="10800000">
        <a:off x="2083587" y="3232"/>
        <a:ext cx="5989156" cy="1021441"/>
      </dsp:txXfrm>
    </dsp:sp>
    <dsp:sp modelId="{FBC9FE48-93AD-5B4A-83FE-4D7EFB9E504D}">
      <dsp:nvSpPr>
        <dsp:cNvPr id="0" name=""/>
        <dsp:cNvSpPr/>
      </dsp:nvSpPr>
      <dsp:spPr>
        <a:xfrm>
          <a:off x="1317506" y="323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A7156D-35D2-ED4B-A5F4-D2C8FD069FB2}">
      <dsp:nvSpPr>
        <dsp:cNvPr id="0" name=""/>
        <dsp:cNvSpPr/>
      </dsp:nvSpPr>
      <dsp:spPr>
        <a:xfrm rot="10800000">
          <a:off x="1828227" y="132958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/>
            <a:t>Considerar</a:t>
          </a:r>
          <a:r>
            <a:rPr lang="en-US" sz="2400" kern="1200" dirty="0"/>
            <a:t> </a:t>
          </a:r>
          <a:r>
            <a:rPr lang="en-US" sz="2400" kern="1200" dirty="0" err="1"/>
            <a:t>rangos</a:t>
          </a:r>
          <a:r>
            <a:rPr lang="en-US" sz="2400" kern="1200" dirty="0"/>
            <a:t> de </a:t>
          </a:r>
          <a:r>
            <a:rPr lang="en-US" sz="2400" kern="1200" dirty="0" err="1"/>
            <a:t>tiempos</a:t>
          </a:r>
          <a:r>
            <a:rPr lang="en-US" sz="2400" kern="1200" dirty="0"/>
            <a:t> </a:t>
          </a:r>
          <a:r>
            <a:rPr lang="en-US" sz="2400" kern="1200" dirty="0" err="1"/>
            <a:t>máximos</a:t>
          </a:r>
          <a:r>
            <a:rPr lang="en-US" sz="2400" kern="1200" dirty="0"/>
            <a:t> de </a:t>
          </a:r>
          <a:r>
            <a:rPr lang="en-US" sz="2400" kern="1200" dirty="0" err="1"/>
            <a:t>antigüedad</a:t>
          </a:r>
          <a:r>
            <a:rPr lang="en-US" sz="2400" kern="1200" dirty="0"/>
            <a:t> </a:t>
          </a:r>
          <a:r>
            <a:rPr lang="en-US" sz="2400" kern="1200" dirty="0" err="1"/>
            <a:t>por</a:t>
          </a:r>
          <a:r>
            <a:rPr lang="en-US" sz="2400" kern="1200" dirty="0"/>
            <a:t> </a:t>
          </a:r>
          <a:r>
            <a:rPr lang="en-US" sz="2400" kern="1200" dirty="0" err="1"/>
            <a:t>patología</a:t>
          </a:r>
          <a:endParaRPr lang="en-US" sz="2400" kern="1200" dirty="0"/>
        </a:p>
      </dsp:txBody>
      <dsp:txXfrm rot="10800000">
        <a:off x="2083587" y="1329582"/>
        <a:ext cx="5989156" cy="1021441"/>
      </dsp:txXfrm>
    </dsp:sp>
    <dsp:sp modelId="{5B3912DC-D4B6-764F-A4DB-EDDEEB496D4C}">
      <dsp:nvSpPr>
        <dsp:cNvPr id="0" name=""/>
        <dsp:cNvSpPr/>
      </dsp:nvSpPr>
      <dsp:spPr>
        <a:xfrm>
          <a:off x="1317506" y="132958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7FD5CD-79E6-0E4E-8DBB-5390AF8F69D9}">
      <dsp:nvSpPr>
        <dsp:cNvPr id="0" name=""/>
        <dsp:cNvSpPr/>
      </dsp:nvSpPr>
      <dsp:spPr>
        <a:xfrm rot="10800000">
          <a:off x="1828227" y="265593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/>
            <a:t>Definir</a:t>
          </a:r>
          <a:r>
            <a:rPr lang="en-US" sz="2400" kern="1200" dirty="0"/>
            <a:t> Indicadores para el </a:t>
          </a:r>
          <a:r>
            <a:rPr lang="en-US" sz="2400" kern="1200" dirty="0" err="1"/>
            <a:t>monitoreo</a:t>
          </a:r>
          <a:r>
            <a:rPr lang="en-US" sz="2400" kern="1200" dirty="0"/>
            <a:t> de la </a:t>
          </a:r>
          <a:r>
            <a:rPr lang="en-US" sz="2400" kern="1200" dirty="0" err="1"/>
            <a:t>gestión</a:t>
          </a:r>
          <a:r>
            <a:rPr lang="en-US" sz="2400" kern="1200" dirty="0"/>
            <a:t> de </a:t>
          </a:r>
          <a:r>
            <a:rPr lang="en-US" sz="2400" kern="1200" dirty="0" err="1"/>
            <a:t>los</a:t>
          </a:r>
          <a:r>
            <a:rPr lang="en-US" sz="2400" kern="1200" dirty="0"/>
            <a:t> </a:t>
          </a:r>
          <a:r>
            <a:rPr lang="en-US" sz="2400" kern="1200" dirty="0" err="1"/>
            <a:t>tiempos</a:t>
          </a:r>
          <a:r>
            <a:rPr lang="en-US" sz="2400" kern="1200" dirty="0"/>
            <a:t> de </a:t>
          </a:r>
          <a:r>
            <a:rPr lang="en-US" sz="2400" kern="1200" dirty="0" err="1"/>
            <a:t>espera</a:t>
          </a:r>
          <a:endParaRPr lang="en-US" sz="2400" kern="1200" dirty="0"/>
        </a:p>
      </dsp:txBody>
      <dsp:txXfrm rot="10800000">
        <a:off x="2083587" y="2655932"/>
        <a:ext cx="5989156" cy="1021441"/>
      </dsp:txXfrm>
    </dsp:sp>
    <dsp:sp modelId="{6209284D-BAD0-9D41-A46A-A39597ACC9C8}">
      <dsp:nvSpPr>
        <dsp:cNvPr id="0" name=""/>
        <dsp:cNvSpPr/>
      </dsp:nvSpPr>
      <dsp:spPr>
        <a:xfrm>
          <a:off x="1317506" y="265593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AD69A2-ECC9-6D4C-BF26-148D04865A82}">
      <dsp:nvSpPr>
        <dsp:cNvPr id="0" name=""/>
        <dsp:cNvSpPr/>
      </dsp:nvSpPr>
      <dsp:spPr>
        <a:xfrm rot="10800000">
          <a:off x="1828227" y="398228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/>
            <a:t>Agregar</a:t>
          </a:r>
          <a:r>
            <a:rPr lang="en-US" sz="2400" kern="1200" dirty="0"/>
            <a:t> valor a la </a:t>
          </a:r>
          <a:r>
            <a:rPr lang="en-US" sz="2400" kern="1200" dirty="0" err="1"/>
            <a:t>toma</a:t>
          </a:r>
          <a:r>
            <a:rPr lang="en-US" sz="2400" kern="1200" dirty="0"/>
            <a:t> de </a:t>
          </a:r>
          <a:r>
            <a:rPr lang="en-US" sz="2400" kern="1200" dirty="0" err="1"/>
            <a:t>decisiones</a:t>
          </a:r>
          <a:r>
            <a:rPr lang="en-US" sz="2400" kern="1200" dirty="0"/>
            <a:t>, </a:t>
          </a:r>
          <a:r>
            <a:rPr lang="en-US" sz="2400" kern="1200" dirty="0" err="1"/>
            <a:t>proporcionando</a:t>
          </a:r>
          <a:r>
            <a:rPr lang="en-US" sz="2400" kern="1200" dirty="0"/>
            <a:t> </a:t>
          </a:r>
          <a:r>
            <a:rPr lang="en-US" sz="2400" kern="1200" dirty="0" err="1"/>
            <a:t>información</a:t>
          </a:r>
          <a:r>
            <a:rPr lang="en-US" sz="2400" kern="1200" dirty="0"/>
            <a:t> </a:t>
          </a:r>
          <a:r>
            <a:rPr lang="en-US" sz="2400" kern="1200" dirty="0" err="1"/>
            <a:t>relevante</a:t>
          </a:r>
          <a:endParaRPr lang="en-US" sz="2400" kern="1200" dirty="0"/>
        </a:p>
      </dsp:txBody>
      <dsp:txXfrm rot="10800000">
        <a:off x="2083587" y="3982282"/>
        <a:ext cx="5989156" cy="1021441"/>
      </dsp:txXfrm>
    </dsp:sp>
    <dsp:sp modelId="{5D9A0C97-D7B8-C846-AA39-0200EEF5A414}">
      <dsp:nvSpPr>
        <dsp:cNvPr id="0" name=""/>
        <dsp:cNvSpPr/>
      </dsp:nvSpPr>
      <dsp:spPr>
        <a:xfrm>
          <a:off x="1317506" y="398228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B52514-6464-E14F-AA5F-D725DD92BB9C}">
      <dsp:nvSpPr>
        <dsp:cNvPr id="0" name=""/>
        <dsp:cNvSpPr/>
      </dsp:nvSpPr>
      <dsp:spPr>
        <a:xfrm rot="10800000">
          <a:off x="1920771" y="641"/>
          <a:ext cx="6244516" cy="139161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3665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/>
            <a:t>Sistema de </a:t>
          </a:r>
          <a:r>
            <a:rPr lang="en-US" sz="2400" kern="1200" dirty="0" err="1"/>
            <a:t>información</a:t>
          </a:r>
          <a:r>
            <a:rPr lang="en-US" sz="2400" kern="1200" dirty="0"/>
            <a:t> </a:t>
          </a:r>
          <a:r>
            <a:rPr lang="en-US" sz="2400" kern="1200" dirty="0" err="1"/>
            <a:t>centrado</a:t>
          </a:r>
          <a:r>
            <a:rPr lang="en-US" sz="2400" kern="1200" dirty="0"/>
            <a:t> </a:t>
          </a:r>
          <a:r>
            <a:rPr lang="en-US" sz="2400" kern="1200" dirty="0" err="1"/>
            <a:t>en</a:t>
          </a:r>
          <a:r>
            <a:rPr lang="en-US" sz="2400" kern="1200" dirty="0"/>
            <a:t> la persona, no </a:t>
          </a:r>
          <a:r>
            <a:rPr lang="en-US" sz="2400" kern="1200" dirty="0" err="1"/>
            <a:t>en</a:t>
          </a:r>
          <a:r>
            <a:rPr lang="en-US" sz="2400" kern="1200" dirty="0"/>
            <a:t> las </a:t>
          </a:r>
          <a:r>
            <a:rPr lang="en-US" sz="2400" kern="1200" dirty="0" err="1"/>
            <a:t>derivaciones</a:t>
          </a:r>
          <a:endParaRPr lang="en-US" sz="2400" kern="1200" dirty="0"/>
        </a:p>
      </dsp:txBody>
      <dsp:txXfrm rot="10800000">
        <a:off x="2268675" y="641"/>
        <a:ext cx="5896612" cy="1391618"/>
      </dsp:txXfrm>
    </dsp:sp>
    <dsp:sp modelId="{FBC9FE48-93AD-5B4A-83FE-4D7EFB9E504D}">
      <dsp:nvSpPr>
        <dsp:cNvPr id="0" name=""/>
        <dsp:cNvSpPr/>
      </dsp:nvSpPr>
      <dsp:spPr>
        <a:xfrm>
          <a:off x="1224962" y="641"/>
          <a:ext cx="1391618" cy="139161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A7156D-35D2-ED4B-A5F4-D2C8FD069FB2}">
      <dsp:nvSpPr>
        <dsp:cNvPr id="0" name=""/>
        <dsp:cNvSpPr/>
      </dsp:nvSpPr>
      <dsp:spPr>
        <a:xfrm rot="10800000">
          <a:off x="1920771" y="1807669"/>
          <a:ext cx="6244516" cy="139161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3665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/>
            <a:t>Estandarizar</a:t>
          </a:r>
          <a:r>
            <a:rPr lang="en-US" sz="2400" kern="1200" dirty="0"/>
            <a:t> </a:t>
          </a:r>
          <a:r>
            <a:rPr lang="en-US" sz="2400" kern="1200" dirty="0" err="1"/>
            <a:t>los</a:t>
          </a:r>
          <a:r>
            <a:rPr lang="en-US" sz="2400" kern="1200" dirty="0"/>
            <a:t> </a:t>
          </a:r>
          <a:r>
            <a:rPr lang="en-US" sz="2400" kern="1200" dirty="0" err="1"/>
            <a:t>datos</a:t>
          </a:r>
          <a:r>
            <a:rPr lang="en-US" sz="2400" kern="1200" dirty="0"/>
            <a:t>, </a:t>
          </a:r>
          <a:r>
            <a:rPr lang="en-US" sz="2400" kern="1200" dirty="0" err="1"/>
            <a:t>especialmente</a:t>
          </a:r>
          <a:r>
            <a:rPr lang="en-US" sz="2400" kern="1200" dirty="0"/>
            <a:t> </a:t>
          </a:r>
          <a:r>
            <a:rPr lang="en-US" sz="2400" kern="1200" dirty="0" err="1"/>
            <a:t>los</a:t>
          </a:r>
          <a:r>
            <a:rPr lang="en-US" sz="2400" kern="1200" dirty="0"/>
            <a:t> </a:t>
          </a:r>
          <a:r>
            <a:rPr lang="en-US" sz="2400" kern="1200" dirty="0" err="1"/>
            <a:t>diagnósticos</a:t>
          </a:r>
          <a:endParaRPr lang="en-US" sz="2400" kern="1200" dirty="0"/>
        </a:p>
      </dsp:txBody>
      <dsp:txXfrm rot="10800000">
        <a:off x="2268675" y="1807669"/>
        <a:ext cx="5896612" cy="1391618"/>
      </dsp:txXfrm>
    </dsp:sp>
    <dsp:sp modelId="{5B3912DC-D4B6-764F-A4DB-EDDEEB496D4C}">
      <dsp:nvSpPr>
        <dsp:cNvPr id="0" name=""/>
        <dsp:cNvSpPr/>
      </dsp:nvSpPr>
      <dsp:spPr>
        <a:xfrm>
          <a:off x="1224962" y="1807669"/>
          <a:ext cx="1391618" cy="139161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7FD5CD-79E6-0E4E-8DBB-5390AF8F69D9}">
      <dsp:nvSpPr>
        <dsp:cNvPr id="0" name=""/>
        <dsp:cNvSpPr/>
      </dsp:nvSpPr>
      <dsp:spPr>
        <a:xfrm rot="10800000">
          <a:off x="1920771" y="3614696"/>
          <a:ext cx="6244516" cy="1391618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3665" tIns="91440" rIns="170688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err="1"/>
            <a:t>Generar</a:t>
          </a:r>
          <a:r>
            <a:rPr lang="en-US" sz="2400" kern="1200" dirty="0"/>
            <a:t> </a:t>
          </a:r>
          <a:r>
            <a:rPr lang="en-US" sz="2400" kern="1200" dirty="0" err="1"/>
            <a:t>información</a:t>
          </a:r>
          <a:r>
            <a:rPr lang="en-US" sz="2400" kern="1200" dirty="0"/>
            <a:t> de </a:t>
          </a:r>
          <a:r>
            <a:rPr lang="en-US" sz="2400" kern="1200" dirty="0" err="1"/>
            <a:t>monitoreo</a:t>
          </a:r>
          <a:r>
            <a:rPr lang="en-US" sz="2400" kern="1200" dirty="0"/>
            <a:t> y </a:t>
          </a:r>
          <a:r>
            <a:rPr lang="en-US" sz="2400" kern="1200" dirty="0" err="1"/>
            <a:t>evaluación</a:t>
          </a:r>
          <a:r>
            <a:rPr lang="en-US" sz="2400" kern="1200" dirty="0"/>
            <a:t> de </a:t>
          </a:r>
          <a:r>
            <a:rPr lang="en-US" sz="2400" kern="1200" dirty="0" err="1"/>
            <a:t>los</a:t>
          </a:r>
          <a:r>
            <a:rPr lang="en-US" sz="2400" kern="1200" dirty="0"/>
            <a:t> </a:t>
          </a:r>
          <a:r>
            <a:rPr lang="en-US" sz="2400" kern="1200" dirty="0" err="1"/>
            <a:t>Tiempos</a:t>
          </a:r>
          <a:r>
            <a:rPr lang="en-US" sz="2400" kern="1200" dirty="0"/>
            <a:t> y </a:t>
          </a:r>
          <a:r>
            <a:rPr lang="en-US" sz="2400" kern="1200" dirty="0" err="1"/>
            <a:t>Listas</a:t>
          </a:r>
          <a:r>
            <a:rPr lang="en-US" sz="2400" kern="1200" dirty="0"/>
            <a:t> de </a:t>
          </a:r>
          <a:r>
            <a:rPr lang="en-US" sz="2400" kern="1200" dirty="0" err="1"/>
            <a:t>Espera</a:t>
          </a:r>
          <a:endParaRPr lang="en-US" sz="2400" kern="1200" dirty="0"/>
        </a:p>
      </dsp:txBody>
      <dsp:txXfrm rot="10800000">
        <a:off x="2268675" y="3614696"/>
        <a:ext cx="5896612" cy="1391618"/>
      </dsp:txXfrm>
    </dsp:sp>
    <dsp:sp modelId="{6209284D-BAD0-9D41-A46A-A39597ACC9C8}">
      <dsp:nvSpPr>
        <dsp:cNvPr id="0" name=""/>
        <dsp:cNvSpPr/>
      </dsp:nvSpPr>
      <dsp:spPr>
        <a:xfrm>
          <a:off x="1224962" y="3614696"/>
          <a:ext cx="1391618" cy="139161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B52514-6464-E14F-AA5F-D725DD92BB9C}">
      <dsp:nvSpPr>
        <dsp:cNvPr id="0" name=""/>
        <dsp:cNvSpPr/>
      </dsp:nvSpPr>
      <dsp:spPr>
        <a:xfrm rot="10800000">
          <a:off x="1828227" y="323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/>
            <a:t>Desarrollar</a:t>
          </a:r>
          <a:r>
            <a:rPr lang="en-US" sz="2000" kern="1200" dirty="0"/>
            <a:t> un </a:t>
          </a:r>
          <a:r>
            <a:rPr lang="en-US" sz="2000" kern="1200" dirty="0" err="1"/>
            <a:t>modelo</a:t>
          </a:r>
          <a:r>
            <a:rPr lang="en-US" sz="2000" kern="1200" dirty="0"/>
            <a:t> de </a:t>
          </a:r>
          <a:r>
            <a:rPr lang="en-US" sz="2000" kern="1200" dirty="0" err="1"/>
            <a:t>priorización</a:t>
          </a:r>
          <a:r>
            <a:rPr lang="en-US" sz="2000" kern="1200" dirty="0"/>
            <a:t> para </a:t>
          </a:r>
          <a:r>
            <a:rPr lang="en-US" sz="2000" kern="1200" dirty="0" err="1"/>
            <a:t>calificar</a:t>
          </a:r>
          <a:r>
            <a:rPr lang="en-US" sz="2000" kern="1200" dirty="0"/>
            <a:t> </a:t>
          </a:r>
          <a:r>
            <a:rPr lang="en-US" sz="2000" kern="1200" dirty="0" err="1"/>
            <a:t>riesgo</a:t>
          </a:r>
          <a:r>
            <a:rPr lang="en-US" sz="2000" kern="1200" dirty="0"/>
            <a:t> de </a:t>
          </a:r>
          <a:r>
            <a:rPr lang="en-US" sz="2000" kern="1200" dirty="0" err="1"/>
            <a:t>cada</a:t>
          </a:r>
          <a:r>
            <a:rPr lang="en-US" sz="2000" kern="1200" dirty="0"/>
            <a:t> persona</a:t>
          </a:r>
        </a:p>
      </dsp:txBody>
      <dsp:txXfrm rot="10800000">
        <a:off x="2083587" y="3232"/>
        <a:ext cx="5989156" cy="1021441"/>
      </dsp:txXfrm>
    </dsp:sp>
    <dsp:sp modelId="{FBC9FE48-93AD-5B4A-83FE-4D7EFB9E504D}">
      <dsp:nvSpPr>
        <dsp:cNvPr id="0" name=""/>
        <dsp:cNvSpPr/>
      </dsp:nvSpPr>
      <dsp:spPr>
        <a:xfrm>
          <a:off x="1317506" y="323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7A7156D-35D2-ED4B-A5F4-D2C8FD069FB2}">
      <dsp:nvSpPr>
        <dsp:cNvPr id="0" name=""/>
        <dsp:cNvSpPr/>
      </dsp:nvSpPr>
      <dsp:spPr>
        <a:xfrm rot="10800000">
          <a:off x="1828227" y="132958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/>
            <a:t>Organizar</a:t>
          </a:r>
          <a:r>
            <a:rPr lang="en-US" sz="2000" kern="1200" dirty="0"/>
            <a:t> </a:t>
          </a:r>
          <a:r>
            <a:rPr lang="en-US" sz="2000" kern="1200" dirty="0" err="1"/>
            <a:t>población</a:t>
          </a:r>
          <a:r>
            <a:rPr lang="en-US" sz="2000" kern="1200" dirty="0"/>
            <a:t> </a:t>
          </a:r>
          <a:r>
            <a:rPr lang="en-US" sz="2000" kern="1200" dirty="0" err="1"/>
            <a:t>según</a:t>
          </a:r>
          <a:r>
            <a:rPr lang="en-US" sz="2000" kern="1200" dirty="0"/>
            <a:t> </a:t>
          </a:r>
          <a:r>
            <a:rPr lang="en-US" sz="2000" kern="1200" dirty="0" err="1"/>
            <a:t>riesgo</a:t>
          </a:r>
          <a:r>
            <a:rPr lang="en-US" sz="2000" kern="1200" dirty="0"/>
            <a:t> y </a:t>
          </a:r>
          <a:r>
            <a:rPr lang="en-US" sz="2000" kern="1200" dirty="0" err="1"/>
            <a:t>complejidad</a:t>
          </a:r>
          <a:r>
            <a:rPr lang="en-US" sz="2000" kern="1200" dirty="0"/>
            <a:t> de </a:t>
          </a:r>
          <a:r>
            <a:rPr lang="en-US" sz="2000" kern="1200" dirty="0" err="1"/>
            <a:t>atención</a:t>
          </a:r>
          <a:r>
            <a:rPr lang="en-US" sz="2000" kern="1200" dirty="0"/>
            <a:t> (</a:t>
          </a:r>
          <a:r>
            <a:rPr lang="en-US" sz="2000" kern="1200" dirty="0" err="1"/>
            <a:t>criterios</a:t>
          </a:r>
          <a:r>
            <a:rPr lang="en-US" sz="2000" kern="1200" dirty="0"/>
            <a:t> de </a:t>
          </a:r>
          <a:r>
            <a:rPr lang="en-US" sz="2000" kern="1200" dirty="0" err="1"/>
            <a:t>priorización</a:t>
          </a:r>
          <a:r>
            <a:rPr lang="en-US" sz="2000" kern="1200" dirty="0"/>
            <a:t>)</a:t>
          </a:r>
        </a:p>
      </dsp:txBody>
      <dsp:txXfrm rot="10800000">
        <a:off x="2083587" y="1329582"/>
        <a:ext cx="5989156" cy="1021441"/>
      </dsp:txXfrm>
    </dsp:sp>
    <dsp:sp modelId="{5B3912DC-D4B6-764F-A4DB-EDDEEB496D4C}">
      <dsp:nvSpPr>
        <dsp:cNvPr id="0" name=""/>
        <dsp:cNvSpPr/>
      </dsp:nvSpPr>
      <dsp:spPr>
        <a:xfrm>
          <a:off x="1317506" y="132958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7FD5CD-79E6-0E4E-8DBB-5390AF8F69D9}">
      <dsp:nvSpPr>
        <dsp:cNvPr id="0" name=""/>
        <dsp:cNvSpPr/>
      </dsp:nvSpPr>
      <dsp:spPr>
        <a:xfrm rot="10800000">
          <a:off x="1828227" y="265593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76200" rIns="14224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err="1"/>
            <a:t>Vincular</a:t>
          </a:r>
          <a:r>
            <a:rPr lang="en-US" sz="2000" kern="1200" baseline="0" dirty="0"/>
            <a:t> Sistema de </a:t>
          </a:r>
          <a:r>
            <a:rPr lang="en-US" sz="2000" kern="1200" baseline="0" dirty="0" err="1"/>
            <a:t>información</a:t>
          </a:r>
          <a:r>
            <a:rPr lang="en-US" sz="2000" kern="1200" baseline="0" dirty="0"/>
            <a:t> de LE y </a:t>
          </a:r>
          <a:r>
            <a:rPr lang="en-US" sz="2000" kern="1200" baseline="0" dirty="0" err="1"/>
            <a:t>tiempos</a:t>
          </a:r>
          <a:r>
            <a:rPr lang="en-US" sz="2000" kern="1200" baseline="0" dirty="0"/>
            <a:t> de </a:t>
          </a:r>
          <a:r>
            <a:rPr lang="en-US" sz="2000" kern="1200" baseline="0" dirty="0" err="1"/>
            <a:t>espera</a:t>
          </a:r>
          <a:r>
            <a:rPr lang="en-US" sz="2000" kern="1200" baseline="0" dirty="0"/>
            <a:t> con </a:t>
          </a:r>
          <a:r>
            <a:rPr lang="en-US" sz="2000" kern="1200" baseline="0" dirty="0" err="1"/>
            <a:t>otros</a:t>
          </a:r>
          <a:r>
            <a:rPr lang="en-US" sz="2000" kern="1200" baseline="0" dirty="0"/>
            <a:t> </a:t>
          </a:r>
          <a:r>
            <a:rPr lang="en-US" sz="2000" kern="1200" baseline="0" dirty="0" err="1"/>
            <a:t>sistemas</a:t>
          </a:r>
          <a:r>
            <a:rPr lang="en-US" sz="2000" kern="1200" baseline="0" dirty="0"/>
            <a:t> de </a:t>
          </a:r>
          <a:r>
            <a:rPr lang="en-US" sz="2000" kern="1200" baseline="0" dirty="0" err="1"/>
            <a:t>información</a:t>
          </a:r>
          <a:endParaRPr lang="en-US" sz="2000" kern="1200" dirty="0"/>
        </a:p>
      </dsp:txBody>
      <dsp:txXfrm rot="10800000">
        <a:off x="2083587" y="2655932"/>
        <a:ext cx="5989156" cy="1021441"/>
      </dsp:txXfrm>
    </dsp:sp>
    <dsp:sp modelId="{6209284D-BAD0-9D41-A46A-A39597ACC9C8}">
      <dsp:nvSpPr>
        <dsp:cNvPr id="0" name=""/>
        <dsp:cNvSpPr/>
      </dsp:nvSpPr>
      <dsp:spPr>
        <a:xfrm>
          <a:off x="1317506" y="265593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201069-613D-164D-8475-FC63311BCBB9}">
      <dsp:nvSpPr>
        <dsp:cNvPr id="0" name=""/>
        <dsp:cNvSpPr/>
      </dsp:nvSpPr>
      <dsp:spPr>
        <a:xfrm rot="10800000">
          <a:off x="1828227" y="3982282"/>
          <a:ext cx="6244516" cy="102144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0428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err="1"/>
            <a:t>Generar</a:t>
          </a:r>
          <a:r>
            <a:rPr lang="en-US" sz="2100" kern="1200" dirty="0"/>
            <a:t> </a:t>
          </a:r>
          <a:r>
            <a:rPr lang="en-US" sz="2100" kern="1200" dirty="0" err="1"/>
            <a:t>indicadores</a:t>
          </a:r>
          <a:r>
            <a:rPr lang="en-US" sz="2100" kern="1200" dirty="0"/>
            <a:t> para </a:t>
          </a:r>
          <a:r>
            <a:rPr lang="en-US" sz="2100" kern="1200" dirty="0" err="1"/>
            <a:t>monitorear</a:t>
          </a:r>
          <a:r>
            <a:rPr lang="en-US" sz="2100" kern="1200" dirty="0"/>
            <a:t> las </a:t>
          </a:r>
          <a:r>
            <a:rPr lang="en-US" sz="2100" kern="1200" dirty="0" err="1"/>
            <a:t>esperas</a:t>
          </a:r>
          <a:r>
            <a:rPr lang="en-US" sz="2100" kern="1200" dirty="0"/>
            <a:t> </a:t>
          </a:r>
          <a:r>
            <a:rPr lang="en-US" sz="2100" kern="1200" dirty="0" err="1"/>
            <a:t>en</a:t>
          </a:r>
          <a:r>
            <a:rPr lang="en-US" sz="2100" kern="1200" dirty="0"/>
            <a:t> el </a:t>
          </a:r>
          <a:r>
            <a:rPr lang="en-US" sz="2100" kern="1200" dirty="0" err="1"/>
            <a:t>tiempo</a:t>
          </a:r>
          <a:r>
            <a:rPr lang="en-US" sz="2100" kern="1200" dirty="0"/>
            <a:t> e </a:t>
          </a:r>
          <a:r>
            <a:rPr lang="en-US" sz="2100" kern="1200" dirty="0" err="1"/>
            <a:t>identificar</a:t>
          </a:r>
          <a:r>
            <a:rPr lang="en-US" sz="2100" kern="1200" dirty="0"/>
            <a:t> </a:t>
          </a:r>
          <a:r>
            <a:rPr lang="en-US" sz="2100" kern="1200" dirty="0" err="1"/>
            <a:t>pacientes</a:t>
          </a:r>
          <a:r>
            <a:rPr lang="en-US" sz="2100" kern="1200" dirty="0"/>
            <a:t> </a:t>
          </a:r>
          <a:r>
            <a:rPr lang="en-US" sz="2100" kern="1200" dirty="0" err="1"/>
            <a:t>críticos</a:t>
          </a:r>
          <a:endParaRPr lang="en-US" sz="2100" kern="1200" dirty="0"/>
        </a:p>
      </dsp:txBody>
      <dsp:txXfrm rot="10800000">
        <a:off x="2083587" y="3982282"/>
        <a:ext cx="5989156" cy="1021441"/>
      </dsp:txXfrm>
    </dsp:sp>
    <dsp:sp modelId="{A86BF4F9-AA64-5E4E-B3E1-837C48F4C502}">
      <dsp:nvSpPr>
        <dsp:cNvPr id="0" name=""/>
        <dsp:cNvSpPr/>
      </dsp:nvSpPr>
      <dsp:spPr>
        <a:xfrm>
          <a:off x="1317506" y="3982282"/>
          <a:ext cx="1021441" cy="1021441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148B5E-D1C0-CF48-97E9-539F231C43A6}">
      <dsp:nvSpPr>
        <dsp:cNvPr id="0" name=""/>
        <dsp:cNvSpPr/>
      </dsp:nvSpPr>
      <dsp:spPr>
        <a:xfrm>
          <a:off x="0" y="1639883"/>
          <a:ext cx="10515600" cy="2167466"/>
        </a:xfrm>
        <a:prstGeom prst="notchedRightArrow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</dsp:sp>
    <dsp:sp modelId="{A97A255C-2B38-E44D-843F-18C0F5D3C152}">
      <dsp:nvSpPr>
        <dsp:cNvPr id="0" name=""/>
        <dsp:cNvSpPr/>
      </dsp:nvSpPr>
      <dsp:spPr>
        <a:xfrm>
          <a:off x="2599" y="0"/>
          <a:ext cx="1513414" cy="216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L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e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nuevo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sistema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informaci</a:t>
          </a:r>
          <a:r>
            <a:rPr lang="es-E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sde los SS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sp:txBody>
      <dsp:txXfrm>
        <a:off x="2599" y="0"/>
        <a:ext cx="1513414" cy="2167466"/>
      </dsp:txXfrm>
    </dsp:sp>
    <dsp:sp modelId="{C7C7BBE0-E17E-3D44-BFBC-873FB1D82C2D}">
      <dsp:nvSpPr>
        <dsp:cNvPr id="0" name=""/>
        <dsp:cNvSpPr/>
      </dsp:nvSpPr>
      <dsp:spPr>
        <a:xfrm>
          <a:off x="488373" y="2438400"/>
          <a:ext cx="541866" cy="541866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08C886B-1774-BF47-A592-E831B0F98616}">
      <dsp:nvSpPr>
        <dsp:cNvPr id="0" name=""/>
        <dsp:cNvSpPr/>
      </dsp:nvSpPr>
      <dsp:spPr>
        <a:xfrm>
          <a:off x="1591684" y="3251200"/>
          <a:ext cx="1513414" cy="216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Integraci</a:t>
          </a:r>
          <a:r>
            <a:rPr lang="es-E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con Fonasa</a:t>
          </a:r>
          <a:r>
            <a:rPr lang="es-E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y Registro Civil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sp:txBody>
      <dsp:txXfrm>
        <a:off x="1591684" y="3251200"/>
        <a:ext cx="1513414" cy="2167466"/>
      </dsp:txXfrm>
    </dsp:sp>
    <dsp:sp modelId="{21C03F5A-EC0E-AB48-A840-30FAD13CB02A}">
      <dsp:nvSpPr>
        <dsp:cNvPr id="0" name=""/>
        <dsp:cNvSpPr/>
      </dsp:nvSpPr>
      <dsp:spPr>
        <a:xfrm>
          <a:off x="2063169" y="2438400"/>
          <a:ext cx="541866" cy="541866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FBB0300-B3D5-3E44-866B-B5D303DF43B7}">
      <dsp:nvSpPr>
        <dsp:cNvPr id="0" name=""/>
        <dsp:cNvSpPr/>
      </dsp:nvSpPr>
      <dsp:spPr>
        <a:xfrm>
          <a:off x="3180770" y="0"/>
          <a:ext cx="1513414" cy="216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Reglas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validaci</a:t>
          </a:r>
          <a:r>
            <a:rPr lang="es-E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automáticas al ingreso de cada registro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sp:txBody>
      <dsp:txXfrm>
        <a:off x="3180770" y="0"/>
        <a:ext cx="1513414" cy="2167466"/>
      </dsp:txXfrm>
    </dsp:sp>
    <dsp:sp modelId="{277EF83A-23CF-2E4A-B55D-4377561112F5}">
      <dsp:nvSpPr>
        <dsp:cNvPr id="0" name=""/>
        <dsp:cNvSpPr/>
      </dsp:nvSpPr>
      <dsp:spPr>
        <a:xfrm>
          <a:off x="3666543" y="2438400"/>
          <a:ext cx="541866" cy="541866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00E479D-2D59-4946-BC34-D54DF70785EF}">
      <dsp:nvSpPr>
        <dsp:cNvPr id="0" name=""/>
        <dsp:cNvSpPr/>
      </dsp:nvSpPr>
      <dsp:spPr>
        <a:xfrm>
          <a:off x="4769855" y="3251200"/>
          <a:ext cx="1513414" cy="216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Indicadores</a:t>
          </a:r>
          <a:r>
            <a:rPr lang="en-U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para la </a:t>
          </a:r>
          <a:r>
            <a:rPr lang="en-US" sz="2000" b="1" kern="1200" baseline="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gesti</a:t>
          </a:r>
          <a:r>
            <a:rPr lang="es-ES" sz="2000" b="1" kern="1200" baseline="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ón</a:t>
          </a:r>
          <a:r>
            <a:rPr lang="es-E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 la LE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sp:txBody>
      <dsp:txXfrm>
        <a:off x="4769855" y="3251200"/>
        <a:ext cx="1513414" cy="2167466"/>
      </dsp:txXfrm>
    </dsp:sp>
    <dsp:sp modelId="{BB66942E-4B20-B24F-8120-3D52C01D54C8}">
      <dsp:nvSpPr>
        <dsp:cNvPr id="0" name=""/>
        <dsp:cNvSpPr/>
      </dsp:nvSpPr>
      <dsp:spPr>
        <a:xfrm>
          <a:off x="5255629" y="2438400"/>
          <a:ext cx="541866" cy="541866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D4285C7-2315-9D43-A088-85E0F094BF8A}">
      <dsp:nvSpPr>
        <dsp:cNvPr id="0" name=""/>
        <dsp:cNvSpPr/>
      </dsp:nvSpPr>
      <dsp:spPr>
        <a:xfrm>
          <a:off x="6358940" y="60326"/>
          <a:ext cx="1513414" cy="19261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Seguridad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e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el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acceso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a LE</a:t>
          </a:r>
        </a:p>
      </dsp:txBody>
      <dsp:txXfrm>
        <a:off x="6358940" y="60326"/>
        <a:ext cx="1513414" cy="1926162"/>
      </dsp:txXfrm>
    </dsp:sp>
    <dsp:sp modelId="{38039B0E-55B6-264D-8293-60134A3FC4B4}">
      <dsp:nvSpPr>
        <dsp:cNvPr id="0" name=""/>
        <dsp:cNvSpPr/>
      </dsp:nvSpPr>
      <dsp:spPr>
        <a:xfrm>
          <a:off x="6844714" y="2378074"/>
          <a:ext cx="541866" cy="541866"/>
        </a:xfrm>
        <a:prstGeom prst="ellipse">
          <a:avLst/>
        </a:prstGeom>
        <a:blipFill rotWithShape="0">
          <a:blip xmlns:r="http://schemas.openxmlformats.org/officeDocument/2006/relationships" r:embed="rId1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DFC4EF6-31DB-BA4C-9366-FFA550C6D150}">
      <dsp:nvSpPr>
        <dsp:cNvPr id="0" name=""/>
        <dsp:cNvSpPr/>
      </dsp:nvSpPr>
      <dsp:spPr>
        <a:xfrm>
          <a:off x="7948026" y="3251200"/>
          <a:ext cx="1513414" cy="216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Gestió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 del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rPr>
            <a:t>Cambio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cs typeface="Calibri Light" panose="020F0302020204030204" pitchFamily="34" charset="0"/>
          </a:endParaRPr>
        </a:p>
      </dsp:txBody>
      <dsp:txXfrm>
        <a:off x="7948026" y="3251200"/>
        <a:ext cx="1513414" cy="2167466"/>
      </dsp:txXfrm>
    </dsp:sp>
    <dsp:sp modelId="{244E1D7F-9E34-4444-9DF2-1B2D4CCB7797}">
      <dsp:nvSpPr>
        <dsp:cNvPr id="0" name=""/>
        <dsp:cNvSpPr/>
      </dsp:nvSpPr>
      <dsp:spPr>
        <a:xfrm>
          <a:off x="8433799" y="2438400"/>
          <a:ext cx="541866" cy="541866"/>
        </a:xfrm>
        <a:prstGeom prst="ellipse">
          <a:avLst/>
        </a:prstGeom>
        <a:solidFill>
          <a:srgbClr val="FFC00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196524-F532-C644-967B-F96D4C2367D8}">
      <dsp:nvSpPr>
        <dsp:cNvPr id="0" name=""/>
        <dsp:cNvSpPr/>
      </dsp:nvSpPr>
      <dsp:spPr>
        <a:xfrm>
          <a:off x="0" y="1305401"/>
          <a:ext cx="12192000" cy="1740535"/>
        </a:xfrm>
        <a:prstGeom prst="notchedRightArrow">
          <a:avLst/>
        </a:prstGeom>
        <a:solidFill>
          <a:srgbClr val="002060"/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ysClr val="window" lastClr="FFFFFF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4318D04B-DE3B-4D5B-8777-58465F3E6F75}">
      <dsp:nvSpPr>
        <dsp:cNvPr id="0" name=""/>
        <dsp:cNvSpPr/>
      </dsp:nvSpPr>
      <dsp:spPr>
        <a:xfrm>
          <a:off x="5491" y="0"/>
          <a:ext cx="2641401" cy="1740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riorizació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LEQ</a:t>
          </a:r>
          <a:r>
            <a:rPr lang="en-U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egú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riesgo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anitario</a:t>
          </a:r>
          <a:r>
            <a:rPr lang="en-U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y TME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sp:txBody>
      <dsp:txXfrm>
        <a:off x="5491" y="0"/>
        <a:ext cx="2641401" cy="1740535"/>
      </dsp:txXfrm>
    </dsp:sp>
    <dsp:sp modelId="{20970D90-8953-424B-B713-012F90AEFA40}">
      <dsp:nvSpPr>
        <dsp:cNvPr id="0" name=""/>
        <dsp:cNvSpPr/>
      </dsp:nvSpPr>
      <dsp:spPr>
        <a:xfrm>
          <a:off x="1108625" y="1958102"/>
          <a:ext cx="435133" cy="435133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C9DE822-771D-459A-9429-61D861E50902}">
      <dsp:nvSpPr>
        <dsp:cNvPr id="0" name=""/>
        <dsp:cNvSpPr/>
      </dsp:nvSpPr>
      <dsp:spPr>
        <a:xfrm>
          <a:off x="2778963" y="2610802"/>
          <a:ext cx="2641401" cy="1740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Seguimiento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oblaciones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 con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modelo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Gestió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Casos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sp:txBody>
      <dsp:txXfrm>
        <a:off x="2778963" y="2610802"/>
        <a:ext cx="2641401" cy="1740535"/>
      </dsp:txXfrm>
    </dsp:sp>
    <dsp:sp modelId="{A790C917-922F-4E76-AE67-0E74F30B5C4B}">
      <dsp:nvSpPr>
        <dsp:cNvPr id="0" name=""/>
        <dsp:cNvSpPr/>
      </dsp:nvSpPr>
      <dsp:spPr>
        <a:xfrm>
          <a:off x="3882097" y="1958102"/>
          <a:ext cx="435133" cy="435133"/>
        </a:xfrm>
        <a:prstGeom prst="ellipse">
          <a:avLst/>
        </a:prstGeom>
        <a:gradFill rotWithShape="0">
          <a:gsLst>
            <a:gs pos="0">
              <a:schemeClr val="accent2">
                <a:hueOff val="-85012"/>
                <a:satOff val="-1278"/>
                <a:lumOff val="-1439"/>
                <a:alphaOff val="0"/>
                <a:shade val="51000"/>
                <a:satMod val="130000"/>
              </a:schemeClr>
            </a:gs>
            <a:gs pos="80000">
              <a:schemeClr val="accent2">
                <a:hueOff val="-85012"/>
                <a:satOff val="-1278"/>
                <a:lumOff val="-1439"/>
                <a:alphaOff val="0"/>
                <a:shade val="93000"/>
                <a:satMod val="130000"/>
              </a:schemeClr>
            </a:gs>
            <a:gs pos="100000">
              <a:schemeClr val="accent2">
                <a:hueOff val="-85012"/>
                <a:satOff val="-1278"/>
                <a:lumOff val="-143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0F9695E-11A6-4818-B6A5-5E639B7CE124}">
      <dsp:nvSpPr>
        <dsp:cNvPr id="0" name=""/>
        <dsp:cNvSpPr/>
      </dsp:nvSpPr>
      <dsp:spPr>
        <a:xfrm>
          <a:off x="5552435" y="0"/>
          <a:ext cx="2641401" cy="1740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Fase</a:t>
          </a:r>
          <a:r>
            <a:rPr lang="en-U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1 </a:t>
          </a:r>
          <a:r>
            <a:rPr lang="en-US" sz="2000" b="1" kern="1200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rogramación</a:t>
          </a:r>
          <a:r>
            <a:rPr lang="en-US" sz="2000" b="1" kern="1200" baseline="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kern="1200" baseline="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abellones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sp:txBody>
      <dsp:txXfrm>
        <a:off x="5552435" y="0"/>
        <a:ext cx="2641401" cy="1740535"/>
      </dsp:txXfrm>
    </dsp:sp>
    <dsp:sp modelId="{E142046A-019C-4D45-85DE-816B0EC954B4}">
      <dsp:nvSpPr>
        <dsp:cNvPr id="0" name=""/>
        <dsp:cNvSpPr/>
      </dsp:nvSpPr>
      <dsp:spPr>
        <a:xfrm>
          <a:off x="6655568" y="1958102"/>
          <a:ext cx="435133" cy="435133"/>
        </a:xfrm>
        <a:prstGeom prst="ellipse">
          <a:avLst/>
        </a:prstGeom>
        <a:gradFill rotWithShape="0">
          <a:gsLst>
            <a:gs pos="0">
              <a:schemeClr val="accent2">
                <a:hueOff val="-170023"/>
                <a:satOff val="-2555"/>
                <a:lumOff val="-2877"/>
                <a:alphaOff val="0"/>
                <a:shade val="51000"/>
                <a:satMod val="130000"/>
              </a:schemeClr>
            </a:gs>
            <a:gs pos="80000">
              <a:schemeClr val="accent2">
                <a:hueOff val="-170023"/>
                <a:satOff val="-2555"/>
                <a:lumOff val="-2877"/>
                <a:alphaOff val="0"/>
                <a:shade val="93000"/>
                <a:satMod val="130000"/>
              </a:schemeClr>
            </a:gs>
            <a:gs pos="100000">
              <a:schemeClr val="accent2">
                <a:hueOff val="-170023"/>
                <a:satOff val="-2555"/>
                <a:lumOff val="-287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8926BF6-2C0A-4E5B-AAF1-A450BB05BB6D}">
      <dsp:nvSpPr>
        <dsp:cNvPr id="0" name=""/>
        <dsp:cNvSpPr/>
      </dsp:nvSpPr>
      <dsp:spPr>
        <a:xfrm>
          <a:off x="8325906" y="2610802"/>
          <a:ext cx="2641401" cy="17405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Acompañamiento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de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pacientes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en</a:t>
          </a:r>
          <a:r>
            <a:rPr lang="en-US" sz="2000" b="1" kern="1200" dirty="0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 </a:t>
          </a:r>
          <a:r>
            <a:rPr lang="en-US" sz="2000" b="1" kern="1200" dirty="0" err="1">
              <a:solidFill>
                <a:srgbClr val="00206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rPr>
            <a:t>espera</a:t>
          </a:r>
          <a:endParaRPr lang="en-US" sz="2000" b="1" kern="1200" dirty="0">
            <a:solidFill>
              <a:srgbClr val="002060"/>
            </a:solidFill>
            <a:latin typeface="Calibri Light" panose="020F0302020204030204" pitchFamily="34" charset="0"/>
            <a:ea typeface="+mn-ea"/>
            <a:cs typeface="Calibri Light" panose="020F0302020204030204" pitchFamily="34" charset="0"/>
          </a:endParaRPr>
        </a:p>
      </dsp:txBody>
      <dsp:txXfrm>
        <a:off x="8325906" y="2610802"/>
        <a:ext cx="2641401" cy="1740535"/>
      </dsp:txXfrm>
    </dsp:sp>
    <dsp:sp modelId="{F6B700AC-1577-4C2C-89A2-28FFF11FE873}">
      <dsp:nvSpPr>
        <dsp:cNvPr id="0" name=""/>
        <dsp:cNvSpPr/>
      </dsp:nvSpPr>
      <dsp:spPr>
        <a:xfrm>
          <a:off x="9429040" y="1958102"/>
          <a:ext cx="435133" cy="435133"/>
        </a:xfrm>
        <a:prstGeom prst="ellipse">
          <a:avLst/>
        </a:prstGeom>
        <a:gradFill rotWithShape="0">
          <a:gsLst>
            <a:gs pos="0">
              <a:schemeClr val="accent2">
                <a:hueOff val="-255035"/>
                <a:satOff val="-3833"/>
                <a:lumOff val="-4316"/>
                <a:alphaOff val="0"/>
                <a:shade val="51000"/>
                <a:satMod val="130000"/>
              </a:schemeClr>
            </a:gs>
            <a:gs pos="80000">
              <a:schemeClr val="accent2">
                <a:hueOff val="-255035"/>
                <a:satOff val="-3833"/>
                <a:lumOff val="-4316"/>
                <a:alphaOff val="0"/>
                <a:shade val="93000"/>
                <a:satMod val="130000"/>
              </a:schemeClr>
            </a:gs>
            <a:gs pos="100000">
              <a:schemeClr val="accent2">
                <a:hueOff val="-255035"/>
                <a:satOff val="-3833"/>
                <a:lumOff val="-431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C07C1-052D-9542-A414-91DA9AA9FA04}" type="datetimeFigureOut">
              <a:rPr lang="en-US" smtClean="0"/>
              <a:t>5/2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A876A4-832B-8042-A38B-B176C42C61D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50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A81DFA-E783-40CB-8634-884E55B23E34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88746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El nuevo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gestión</a:t>
            </a:r>
            <a:r>
              <a:rPr lang="en-US" dirty="0"/>
              <a:t> se </a:t>
            </a:r>
            <a:r>
              <a:rPr lang="en-US" dirty="0" err="1"/>
              <a:t>bas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que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establecimiento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responsible de </a:t>
            </a:r>
            <a:r>
              <a:rPr lang="en-US" dirty="0" err="1"/>
              <a:t>informar</a:t>
            </a:r>
            <a:r>
              <a:rPr lang="en-US" dirty="0"/>
              <a:t> y resolver </a:t>
            </a:r>
            <a:r>
              <a:rPr lang="en-US" dirty="0" err="1"/>
              <a:t>sus</a:t>
            </a:r>
            <a:r>
              <a:rPr lang="en-US" dirty="0"/>
              <a:t> </a:t>
            </a:r>
            <a:r>
              <a:rPr lang="en-US" dirty="0" err="1"/>
              <a:t>listas</a:t>
            </a:r>
            <a:r>
              <a:rPr lang="en-US" dirty="0"/>
              <a:t> de </a:t>
            </a:r>
            <a:r>
              <a:rPr lang="en-US" dirty="0" err="1"/>
              <a:t>espera</a:t>
            </a:r>
            <a:r>
              <a:rPr lang="en-US" dirty="0"/>
              <a:t>. </a:t>
            </a:r>
            <a:r>
              <a:rPr lang="en-US" dirty="0" err="1"/>
              <a:t>Ellos</a:t>
            </a:r>
            <a:r>
              <a:rPr lang="en-US" dirty="0"/>
              <a:t> son </a:t>
            </a:r>
            <a:r>
              <a:rPr lang="en-US" dirty="0" err="1"/>
              <a:t>los</a:t>
            </a:r>
            <a:r>
              <a:rPr lang="en-US" dirty="0"/>
              <a:t> “</a:t>
            </a:r>
            <a:r>
              <a:rPr lang="en-US" dirty="0" err="1"/>
              <a:t>duseños</a:t>
            </a:r>
            <a:r>
              <a:rPr lang="en-US" dirty="0"/>
              <a:t>” de la </a:t>
            </a:r>
            <a:r>
              <a:rPr lang="en-US" dirty="0" err="1"/>
              <a:t>informació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 LE </a:t>
            </a:r>
            <a:r>
              <a:rPr lang="en-US" dirty="0" err="1"/>
              <a:t>disponible</a:t>
            </a:r>
            <a:r>
              <a:rPr lang="en-US" dirty="0"/>
              <a:t> da </a:t>
            </a:r>
            <a:r>
              <a:rPr lang="en-US" dirty="0" err="1"/>
              <a:t>cuenta</a:t>
            </a:r>
            <a:r>
              <a:rPr lang="en-US" dirty="0"/>
              <a:t> de lo que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establecimiento</a:t>
            </a:r>
            <a:r>
              <a:rPr lang="en-US" dirty="0"/>
              <a:t> ha </a:t>
            </a:r>
            <a:r>
              <a:rPr lang="en-US" dirty="0" err="1"/>
              <a:t>reportado</a:t>
            </a:r>
            <a:r>
              <a:rPr lang="en-US" dirty="0"/>
              <a:t> al </a:t>
            </a:r>
            <a:r>
              <a:rPr lang="en-US" dirty="0" err="1"/>
              <a:t>dí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que la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consultad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l </a:t>
            </a:r>
            <a:r>
              <a:rPr lang="en-US" dirty="0" err="1"/>
              <a:t>proveer</a:t>
            </a:r>
            <a:r>
              <a:rPr lang="en-US" dirty="0"/>
              <a:t> </a:t>
            </a:r>
            <a:r>
              <a:rPr lang="en-US" dirty="0" err="1"/>
              <a:t>información</a:t>
            </a:r>
            <a:r>
              <a:rPr lang="en-US" dirty="0"/>
              <a:t> </a:t>
            </a:r>
            <a:r>
              <a:rPr lang="en-US" dirty="0" err="1"/>
              <a:t>actualizada</a:t>
            </a:r>
            <a:r>
              <a:rPr lang="en-US" dirty="0"/>
              <a:t> y no </a:t>
            </a:r>
            <a:r>
              <a:rPr lang="en-US" dirty="0" err="1"/>
              <a:t>restrospectiva</a:t>
            </a:r>
            <a:r>
              <a:rPr lang="en-US" dirty="0"/>
              <a:t>, </a:t>
            </a:r>
            <a:r>
              <a:rPr lang="en-US" dirty="0" err="1"/>
              <a:t>sirve</a:t>
            </a:r>
            <a:r>
              <a:rPr lang="en-US" dirty="0"/>
              <a:t> </a:t>
            </a:r>
            <a:r>
              <a:rPr lang="en-US" dirty="0" err="1"/>
              <a:t>como</a:t>
            </a:r>
            <a:r>
              <a:rPr lang="en-US" dirty="0"/>
              <a:t> </a:t>
            </a:r>
            <a:r>
              <a:rPr lang="en-US" dirty="0" err="1"/>
              <a:t>herramienta</a:t>
            </a:r>
            <a:r>
              <a:rPr lang="en-US" dirty="0"/>
              <a:t> de </a:t>
            </a:r>
            <a:r>
              <a:rPr lang="en-US" dirty="0" err="1"/>
              <a:t>apoyo</a:t>
            </a:r>
            <a:r>
              <a:rPr lang="en-US" dirty="0"/>
              <a:t> a la </a:t>
            </a:r>
            <a:r>
              <a:rPr lang="en-US" dirty="0" err="1"/>
              <a:t>gestión</a:t>
            </a:r>
            <a:r>
              <a:rPr lang="en-US" dirty="0"/>
              <a:t> y a la </a:t>
            </a:r>
            <a:r>
              <a:rPr lang="en-US" dirty="0" err="1"/>
              <a:t>operació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8861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AS CENTRAL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ada</a:t>
            </a:r>
            <a:r>
              <a:rPr lang="en-US" dirty="0"/>
              <a:t> SS </a:t>
            </a:r>
            <a:r>
              <a:rPr lang="en-US" dirty="0" err="1"/>
              <a:t>conoce</a:t>
            </a:r>
            <a:r>
              <a:rPr lang="en-US" dirty="0"/>
              <a:t> a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población</a:t>
            </a:r>
            <a:r>
              <a:rPr lang="en-US" dirty="0"/>
              <a:t>,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realida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distinta</a:t>
            </a:r>
            <a:r>
              <a:rPr lang="en-US" dirty="0"/>
              <a:t>, temenos que </a:t>
            </a:r>
            <a:r>
              <a:rPr lang="en-US" dirty="0" err="1"/>
              <a:t>ajustarnos</a:t>
            </a:r>
            <a:r>
              <a:rPr lang="en-US" dirty="0"/>
              <a:t> al </a:t>
            </a:r>
            <a:r>
              <a:rPr lang="en-US" dirty="0" err="1"/>
              <a:t>máximo</a:t>
            </a:r>
            <a:r>
              <a:rPr lang="en-US" dirty="0"/>
              <a:t> con la </a:t>
            </a:r>
            <a:r>
              <a:rPr lang="en-US" dirty="0" err="1"/>
              <a:t>demana</a:t>
            </a:r>
            <a:r>
              <a:rPr lang="en-US" dirty="0"/>
              <a:t>. </a:t>
            </a:r>
            <a:r>
              <a:rPr lang="en-US" dirty="0" err="1"/>
              <a:t>Tenemos</a:t>
            </a:r>
            <a:r>
              <a:rPr lang="en-US" dirty="0"/>
              <a:t> que </a:t>
            </a:r>
            <a:r>
              <a:rPr lang="en-US" dirty="0" err="1"/>
              <a:t>hacer</a:t>
            </a:r>
            <a:r>
              <a:rPr lang="en-US" dirty="0"/>
              <a:t> </a:t>
            </a:r>
            <a:r>
              <a:rPr lang="en-US" dirty="0" err="1"/>
              <a:t>calzar</a:t>
            </a:r>
            <a:r>
              <a:rPr lang="en-US" dirty="0"/>
              <a:t> </a:t>
            </a:r>
            <a:r>
              <a:rPr lang="en-US" dirty="0" err="1"/>
              <a:t>oferta</a:t>
            </a:r>
            <a:r>
              <a:rPr lang="en-US" dirty="0"/>
              <a:t> y </a:t>
            </a:r>
            <a:r>
              <a:rPr lang="en-US" dirty="0" err="1"/>
              <a:t>demand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ostramos</a:t>
            </a:r>
            <a:r>
              <a:rPr lang="en-US" dirty="0"/>
              <a:t> </a:t>
            </a:r>
            <a:r>
              <a:rPr lang="en-US" dirty="0" err="1"/>
              <a:t>avance</a:t>
            </a:r>
            <a:r>
              <a:rPr lang="en-US" dirty="0"/>
              <a:t>: </a:t>
            </a:r>
            <a:r>
              <a:rPr lang="en-US" dirty="0" err="1"/>
              <a:t>deficiencias</a:t>
            </a:r>
            <a:r>
              <a:rPr lang="en-US" dirty="0"/>
              <a:t> y </a:t>
            </a:r>
            <a:r>
              <a:rPr lang="en-US" dirty="0" err="1"/>
              <a:t>limitaciones</a:t>
            </a:r>
            <a:r>
              <a:rPr lang="en-US" dirty="0"/>
              <a:t> </a:t>
            </a:r>
            <a:r>
              <a:rPr lang="en-US" dirty="0" err="1"/>
              <a:t>observada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nformes</a:t>
            </a:r>
            <a:r>
              <a:rPr lang="en-US" dirty="0"/>
              <a:t> de </a:t>
            </a:r>
            <a:r>
              <a:rPr lang="en-US" dirty="0" err="1"/>
              <a:t>comisión</a:t>
            </a:r>
            <a:r>
              <a:rPr lang="en-US" dirty="0"/>
              <a:t> anterior y </a:t>
            </a:r>
            <a:r>
              <a:rPr lang="en-US" dirty="0" err="1"/>
              <a:t>análisis</a:t>
            </a:r>
            <a:r>
              <a:rPr lang="en-US" dirty="0"/>
              <a:t> PUC; </a:t>
            </a:r>
            <a:r>
              <a:rPr lang="en-US" dirty="0" err="1"/>
              <a:t>estas</a:t>
            </a:r>
            <a:r>
              <a:rPr lang="en-US" dirty="0"/>
              <a:t> </a:t>
            </a:r>
            <a:r>
              <a:rPr lang="en-US" dirty="0" err="1"/>
              <a:t>ya</a:t>
            </a:r>
            <a:r>
              <a:rPr lang="en-US" dirty="0"/>
              <a:t> </a:t>
            </a:r>
            <a:r>
              <a:rPr lang="en-US" dirty="0" err="1"/>
              <a:t>fueron</a:t>
            </a:r>
            <a:r>
              <a:rPr lang="en-US" dirty="0"/>
              <a:t> </a:t>
            </a:r>
            <a:r>
              <a:rPr lang="en-US" dirty="0" err="1"/>
              <a:t>subsanada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ecordar</a:t>
            </a:r>
            <a:r>
              <a:rPr lang="en-US" dirty="0"/>
              <a:t> que </a:t>
            </a:r>
            <a:r>
              <a:rPr lang="en-US" dirty="0" err="1"/>
              <a:t>estamos</a:t>
            </a:r>
            <a:r>
              <a:rPr lang="en-US" dirty="0"/>
              <a:t> con mesa de </a:t>
            </a:r>
            <a:r>
              <a:rPr lang="en-US" dirty="0" err="1"/>
              <a:t>ayuda</a:t>
            </a:r>
            <a:r>
              <a:rPr lang="en-US" dirty="0"/>
              <a:t> y </a:t>
            </a:r>
            <a:r>
              <a:rPr lang="en-US" dirty="0" err="1"/>
              <a:t>capacitacione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La </a:t>
            </a:r>
            <a:r>
              <a:rPr lang="en-US" dirty="0" err="1">
                <a:highlight>
                  <a:srgbClr val="FFFF00"/>
                </a:highlight>
              </a:rPr>
              <a:t>lista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ya</a:t>
            </a:r>
            <a:r>
              <a:rPr lang="en-US" dirty="0">
                <a:highlight>
                  <a:srgbClr val="FFFF00"/>
                </a:highlight>
              </a:rPr>
              <a:t> no </a:t>
            </a:r>
            <a:r>
              <a:rPr lang="en-US" dirty="0" err="1">
                <a:highlight>
                  <a:srgbClr val="FFFF00"/>
                </a:highlight>
              </a:rPr>
              <a:t>tendrá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cierre</a:t>
            </a:r>
            <a:endParaRPr lang="en-US" dirty="0"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va</a:t>
            </a:r>
            <a:r>
              <a:rPr lang="en-US" dirty="0"/>
              <a:t> a </a:t>
            </a:r>
            <a:r>
              <a:rPr lang="en-US" dirty="0" err="1"/>
              <a:t>crecer</a:t>
            </a:r>
            <a:r>
              <a:rPr lang="en-US" dirty="0"/>
              <a:t> </a:t>
            </a:r>
            <a:r>
              <a:rPr lang="en-US" dirty="0" err="1"/>
              <a:t>porque</a:t>
            </a:r>
            <a:r>
              <a:rPr lang="en-US" dirty="0"/>
              <a:t> se van a </a:t>
            </a:r>
            <a:r>
              <a:rPr lang="en-US" dirty="0" err="1"/>
              <a:t>empezar</a:t>
            </a:r>
            <a:r>
              <a:rPr lang="en-US" dirty="0"/>
              <a:t> a </a:t>
            </a:r>
            <a:r>
              <a:rPr lang="en-US" dirty="0" err="1"/>
              <a:t>tributar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casos</a:t>
            </a:r>
            <a:r>
              <a:rPr lang="en-US" dirty="0"/>
              <a:t> que no </a:t>
            </a:r>
            <a:r>
              <a:rPr lang="en-US" dirty="0" err="1"/>
              <a:t>han</a:t>
            </a:r>
            <a:r>
              <a:rPr lang="en-US" dirty="0"/>
              <a:t> </a:t>
            </a:r>
            <a:r>
              <a:rPr lang="en-US" dirty="0" err="1"/>
              <a:t>sido</a:t>
            </a:r>
            <a:r>
              <a:rPr lang="en-US" dirty="0"/>
              <a:t> “</a:t>
            </a:r>
            <a:r>
              <a:rPr lang="en-US" dirty="0" err="1"/>
              <a:t>subidos</a:t>
            </a:r>
            <a:r>
              <a:rPr lang="en-US" dirty="0"/>
              <a:t>” al </a:t>
            </a:r>
            <a:r>
              <a:rPr lang="en-US" dirty="0" err="1"/>
              <a:t>registro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Esta</a:t>
            </a:r>
            <a:r>
              <a:rPr lang="en-US" dirty="0"/>
              <a:t>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la que </a:t>
            </a:r>
            <a:r>
              <a:rPr lang="en-US" dirty="0" err="1"/>
              <a:t>será</a:t>
            </a:r>
            <a:r>
              <a:rPr lang="en-US" dirty="0"/>
              <a:t> </a:t>
            </a:r>
            <a:r>
              <a:rPr lang="en-US" dirty="0" err="1"/>
              <a:t>utilizad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 </a:t>
            </a:r>
            <a:r>
              <a:rPr lang="en-US" dirty="0" err="1"/>
              <a:t>programación</a:t>
            </a:r>
            <a:r>
              <a:rPr lang="en-US" dirty="0"/>
              <a:t> de </a:t>
            </a:r>
            <a:r>
              <a:rPr lang="en-US" dirty="0" err="1"/>
              <a:t>pabellones</a:t>
            </a:r>
            <a:r>
              <a:rPr lang="en-US" dirty="0"/>
              <a:t>: </a:t>
            </a:r>
            <a:r>
              <a:rPr lang="en-US" dirty="0" err="1"/>
              <a:t>Transparente</a:t>
            </a:r>
            <a:r>
              <a:rPr lang="en-US" dirty="0"/>
              <a:t>, </a:t>
            </a:r>
            <a:r>
              <a:rPr lang="en-US" dirty="0" err="1"/>
              <a:t>priorizad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iesgo</a:t>
            </a:r>
            <a:r>
              <a:rPr lang="en-US" dirty="0"/>
              <a:t> </a:t>
            </a:r>
            <a:r>
              <a:rPr lang="en-US" dirty="0" err="1"/>
              <a:t>sanitario</a:t>
            </a:r>
            <a:r>
              <a:rPr lang="en-US" dirty="0"/>
              <a:t> </a:t>
            </a:r>
            <a:r>
              <a:rPr lang="en-US" dirty="0" err="1"/>
              <a:t>permitirá</a:t>
            </a:r>
            <a:r>
              <a:rPr lang="en-US" dirty="0"/>
              <a:t> </a:t>
            </a:r>
            <a:r>
              <a:rPr lang="en-US" dirty="0" err="1"/>
              <a:t>armar</a:t>
            </a:r>
            <a:r>
              <a:rPr lang="en-US" dirty="0"/>
              <a:t> </a:t>
            </a:r>
            <a:r>
              <a:rPr lang="en-US" dirty="0" err="1"/>
              <a:t>pirámide</a:t>
            </a:r>
            <a:r>
              <a:rPr lang="en-US" dirty="0"/>
              <a:t> para </a:t>
            </a:r>
            <a:r>
              <a:rPr lang="en-US" dirty="0" err="1"/>
              <a:t>controlar</a:t>
            </a:r>
            <a:r>
              <a:rPr lang="en-US" dirty="0"/>
              <a:t> </a:t>
            </a:r>
            <a:r>
              <a:rPr lang="en-US" dirty="0" err="1"/>
              <a:t>poblaciones</a:t>
            </a:r>
            <a:r>
              <a:rPr lang="en-US" dirty="0"/>
              <a:t> que </a:t>
            </a:r>
            <a:r>
              <a:rPr lang="en-US" dirty="0" err="1"/>
              <a:t>nos</a:t>
            </a:r>
            <a:r>
              <a:rPr lang="en-US" dirty="0"/>
              <a:t> </a:t>
            </a:r>
            <a:r>
              <a:rPr lang="en-US" dirty="0" err="1"/>
              <a:t>consumen</a:t>
            </a:r>
            <a:r>
              <a:rPr lang="en-US" dirty="0"/>
              <a:t> la mayor </a:t>
            </a:r>
            <a:r>
              <a:rPr lang="en-US" dirty="0" err="1"/>
              <a:t>cantidad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. Este </a:t>
            </a:r>
            <a:r>
              <a:rPr lang="en-US" dirty="0" err="1"/>
              <a:t>riesgo</a:t>
            </a:r>
            <a:r>
              <a:rPr lang="en-US" dirty="0"/>
              <a:t> </a:t>
            </a:r>
            <a:r>
              <a:rPr lang="en-US" dirty="0" err="1"/>
              <a:t>sanitario</a:t>
            </a:r>
            <a:r>
              <a:rPr lang="en-US" dirty="0"/>
              <a:t> </a:t>
            </a:r>
            <a:r>
              <a:rPr lang="en-US" dirty="0" err="1"/>
              <a:t>será</a:t>
            </a:r>
            <a:r>
              <a:rPr lang="en-US" dirty="0"/>
              <a:t> </a:t>
            </a:r>
            <a:r>
              <a:rPr lang="en-US" dirty="0" err="1"/>
              <a:t>utilizado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s </a:t>
            </a:r>
            <a:r>
              <a:rPr lang="en-US" dirty="0" err="1"/>
              <a:t>priorizaciones</a:t>
            </a:r>
            <a:r>
              <a:rPr lang="en-US" dirty="0"/>
              <a:t>. Los </a:t>
            </a:r>
            <a:r>
              <a:rPr lang="en-US" dirty="0" err="1"/>
              <a:t>riesgos</a:t>
            </a:r>
            <a:r>
              <a:rPr lang="en-US" dirty="0"/>
              <a:t> </a:t>
            </a:r>
            <a:r>
              <a:rPr lang="en-US" dirty="0" err="1"/>
              <a:t>sirven</a:t>
            </a:r>
            <a:r>
              <a:rPr lang="en-US" dirty="0"/>
              <a:t> para el </a:t>
            </a:r>
            <a:r>
              <a:rPr lang="en-US" dirty="0" err="1"/>
              <a:t>seguimiento</a:t>
            </a:r>
            <a:r>
              <a:rPr lang="en-US" dirty="0"/>
              <a:t> de </a:t>
            </a:r>
            <a:r>
              <a:rPr lang="en-US" dirty="0" err="1"/>
              <a:t>poblaciones</a:t>
            </a:r>
            <a:r>
              <a:rPr lang="en-US" dirty="0"/>
              <a:t>, con un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gestión</a:t>
            </a:r>
            <a:r>
              <a:rPr lang="en-US" dirty="0"/>
              <a:t> de </a:t>
            </a:r>
            <a:r>
              <a:rPr lang="en-US" dirty="0" err="1"/>
              <a:t>casos</a:t>
            </a:r>
            <a:r>
              <a:rPr lang="en-US" dirty="0"/>
              <a:t> (instrument para </a:t>
            </a:r>
            <a:r>
              <a:rPr lang="en-US" dirty="0" err="1"/>
              <a:t>hacer</a:t>
            </a:r>
            <a:r>
              <a:rPr lang="en-US" dirty="0"/>
              <a:t> </a:t>
            </a:r>
            <a:r>
              <a:rPr lang="en-US" dirty="0" err="1"/>
              <a:t>seguimiento</a:t>
            </a:r>
            <a:r>
              <a:rPr lang="en-US" dirty="0"/>
              <a:t> </a:t>
            </a:r>
            <a:r>
              <a:rPr lang="en-US" dirty="0" err="1"/>
              <a:t>según</a:t>
            </a:r>
            <a:r>
              <a:rPr lang="en-US" dirty="0"/>
              <a:t> las </a:t>
            </a:r>
            <a:r>
              <a:rPr lang="en-US" dirty="0" err="1"/>
              <a:t>poblaciones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eguimiento</a:t>
            </a:r>
            <a:r>
              <a:rPr lang="en-US" dirty="0"/>
              <a:t> de </a:t>
            </a:r>
            <a:r>
              <a:rPr lang="en-US" dirty="0" err="1"/>
              <a:t>poblaciones</a:t>
            </a:r>
            <a:r>
              <a:rPr lang="en-US" dirty="0"/>
              <a:t> </a:t>
            </a:r>
            <a:r>
              <a:rPr lang="en-US" dirty="0" err="1"/>
              <a:t>atiende</a:t>
            </a:r>
            <a:r>
              <a:rPr lang="en-US" dirty="0"/>
              <a:t> a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lo </a:t>
            </a:r>
            <a:r>
              <a:rPr lang="en-US" dirty="0" err="1"/>
              <a:t>necesitan</a:t>
            </a:r>
            <a:r>
              <a:rPr lang="en-US" dirty="0"/>
              <a:t> y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nsumen</a:t>
            </a:r>
            <a:r>
              <a:rPr lang="en-US" dirty="0"/>
              <a:t> </a:t>
            </a:r>
            <a:r>
              <a:rPr lang="en-US" dirty="0" err="1"/>
              <a:t>recursos</a:t>
            </a:r>
            <a:r>
              <a:rPr lang="en-US" dirty="0"/>
              <a:t> (</a:t>
            </a:r>
            <a:r>
              <a:rPr lang="en-US" dirty="0" err="1"/>
              <a:t>parte</a:t>
            </a:r>
            <a:r>
              <a:rPr lang="en-US" dirty="0"/>
              <a:t> media de la </a:t>
            </a:r>
            <a:r>
              <a:rPr lang="en-US" dirty="0" err="1"/>
              <a:t>pirámide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Gestiones</a:t>
            </a:r>
            <a:r>
              <a:rPr lang="en-US" dirty="0"/>
              <a:t> para qu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hospitales</a:t>
            </a:r>
            <a:r>
              <a:rPr lang="en-US" dirty="0"/>
              <a:t> y SS para que </a:t>
            </a:r>
            <a:r>
              <a:rPr lang="en-US" dirty="0" err="1"/>
              <a:t>generen</a:t>
            </a:r>
            <a:r>
              <a:rPr lang="en-US" dirty="0"/>
              <a:t> Indicadores con CNP (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olaboración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 la GES </a:t>
            </a:r>
            <a:r>
              <a:rPr lang="en-US" dirty="0" err="1"/>
              <a:t>vamos</a:t>
            </a:r>
            <a:r>
              <a:rPr lang="en-US" dirty="0"/>
              <a:t> a </a:t>
            </a:r>
            <a:r>
              <a:rPr lang="en-US" dirty="0" err="1"/>
              <a:t>mejorar</a:t>
            </a:r>
            <a:r>
              <a:rPr lang="en-US" dirty="0"/>
              <a:t> el </a:t>
            </a:r>
            <a:r>
              <a:rPr lang="en-US" dirty="0" err="1"/>
              <a:t>proceso</a:t>
            </a:r>
            <a:r>
              <a:rPr lang="en-US" dirty="0"/>
              <a:t> de </a:t>
            </a:r>
            <a:r>
              <a:rPr lang="en-US" dirty="0" err="1"/>
              <a:t>planificación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 de la red. </a:t>
            </a:r>
            <a:r>
              <a:rPr lang="en-US" dirty="0" err="1"/>
              <a:t>Trabajo</a:t>
            </a:r>
            <a:r>
              <a:rPr lang="en-US" dirty="0"/>
              <a:t> annual para </a:t>
            </a:r>
            <a:r>
              <a:rPr lang="en-US" dirty="0" err="1"/>
              <a:t>ajustar</a:t>
            </a:r>
            <a:r>
              <a:rPr lang="en-US" dirty="0"/>
              <a:t> </a:t>
            </a:r>
            <a:r>
              <a:rPr lang="en-US" dirty="0" err="1"/>
              <a:t>capacidades</a:t>
            </a:r>
            <a:r>
              <a:rPr lang="en-US" dirty="0"/>
              <a:t> de la 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programación</a:t>
            </a:r>
            <a:r>
              <a:rPr lang="en-US" dirty="0"/>
              <a:t> de </a:t>
            </a:r>
            <a:r>
              <a:rPr lang="en-US" dirty="0" err="1"/>
              <a:t>pabellones</a:t>
            </a:r>
            <a:r>
              <a:rPr lang="en-US" dirty="0"/>
              <a:t> </a:t>
            </a:r>
            <a:r>
              <a:rPr lang="en-US" dirty="0" err="1"/>
              <a:t>debe</a:t>
            </a:r>
            <a:r>
              <a:rPr lang="en-US" dirty="0"/>
              <a:t> </a:t>
            </a:r>
            <a:r>
              <a:rPr lang="en-US" dirty="0" err="1"/>
              <a:t>ser</a:t>
            </a:r>
            <a:r>
              <a:rPr lang="en-US" dirty="0"/>
              <a:t> flexible  y de </a:t>
            </a:r>
            <a:r>
              <a:rPr lang="en-US" dirty="0" err="1"/>
              <a:t>acuerdo</a:t>
            </a:r>
            <a:r>
              <a:rPr lang="en-US" dirty="0"/>
              <a:t> a las </a:t>
            </a:r>
            <a:r>
              <a:rPr lang="en-US" dirty="0" err="1"/>
              <a:t>necesidades</a:t>
            </a:r>
            <a:r>
              <a:rPr lang="en-US" dirty="0"/>
              <a:t> de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estan</a:t>
            </a:r>
            <a:r>
              <a:rPr lang="en-US" dirty="0"/>
              <a:t> </a:t>
            </a:r>
            <a:r>
              <a:rPr lang="en-US" dirty="0" err="1"/>
              <a:t>esperando</a:t>
            </a:r>
            <a:r>
              <a:rPr lang="en-US" dirty="0"/>
              <a:t>. No </a:t>
            </a:r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ser</a:t>
            </a:r>
            <a:r>
              <a:rPr lang="en-US" dirty="0"/>
              <a:t> un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asignación</a:t>
            </a:r>
            <a:r>
              <a:rPr lang="en-US" dirty="0"/>
              <a:t> </a:t>
            </a:r>
            <a:r>
              <a:rPr lang="en-US" dirty="0" err="1"/>
              <a:t>fijo</a:t>
            </a:r>
            <a:r>
              <a:rPr lang="en-US" dirty="0"/>
              <a:t>. </a:t>
            </a:r>
            <a:r>
              <a:rPr lang="en-US" dirty="0" err="1"/>
              <a:t>Siempre</a:t>
            </a:r>
            <a:r>
              <a:rPr lang="en-US" dirty="0"/>
              <a:t> hay que </a:t>
            </a:r>
            <a:r>
              <a:rPr lang="en-US" dirty="0" err="1"/>
              <a:t>estar</a:t>
            </a:r>
            <a:r>
              <a:rPr lang="en-US" dirty="0"/>
              <a:t> </a:t>
            </a:r>
            <a:r>
              <a:rPr lang="en-US" dirty="0" err="1"/>
              <a:t>mirando</a:t>
            </a:r>
            <a:r>
              <a:rPr lang="en-US" dirty="0"/>
              <a:t> la </a:t>
            </a:r>
            <a:r>
              <a:rPr lang="en-US" dirty="0" err="1"/>
              <a:t>demand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oordinación</a:t>
            </a:r>
            <a:r>
              <a:rPr lang="en-US" dirty="0"/>
              <a:t> RI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3211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AS CENTRAL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ada</a:t>
            </a:r>
            <a:r>
              <a:rPr lang="en-US" dirty="0"/>
              <a:t> SS </a:t>
            </a:r>
            <a:r>
              <a:rPr lang="en-US" dirty="0" err="1"/>
              <a:t>conoce</a:t>
            </a:r>
            <a:r>
              <a:rPr lang="en-US" dirty="0"/>
              <a:t> a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población</a:t>
            </a:r>
            <a:r>
              <a:rPr lang="en-US" dirty="0"/>
              <a:t>,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realida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distinta</a:t>
            </a:r>
            <a:r>
              <a:rPr lang="en-US" dirty="0"/>
              <a:t>, temenos que </a:t>
            </a:r>
            <a:r>
              <a:rPr lang="en-US" dirty="0" err="1"/>
              <a:t>ajustarnos</a:t>
            </a:r>
            <a:r>
              <a:rPr lang="en-US" dirty="0"/>
              <a:t> al </a:t>
            </a:r>
            <a:r>
              <a:rPr lang="en-US" dirty="0" err="1"/>
              <a:t>máximo</a:t>
            </a:r>
            <a:r>
              <a:rPr lang="en-US" dirty="0"/>
              <a:t> con la </a:t>
            </a:r>
            <a:r>
              <a:rPr lang="en-US" dirty="0" err="1"/>
              <a:t>demana</a:t>
            </a:r>
            <a:r>
              <a:rPr lang="en-US" dirty="0"/>
              <a:t>. </a:t>
            </a:r>
            <a:r>
              <a:rPr lang="en-US" dirty="0" err="1"/>
              <a:t>Tenemos</a:t>
            </a:r>
            <a:r>
              <a:rPr lang="en-US" dirty="0"/>
              <a:t> que </a:t>
            </a:r>
            <a:r>
              <a:rPr lang="en-US" dirty="0" err="1"/>
              <a:t>hacer</a:t>
            </a:r>
            <a:r>
              <a:rPr lang="en-US" dirty="0"/>
              <a:t> </a:t>
            </a:r>
            <a:r>
              <a:rPr lang="en-US" dirty="0" err="1"/>
              <a:t>calzar</a:t>
            </a:r>
            <a:r>
              <a:rPr lang="en-US" dirty="0"/>
              <a:t> </a:t>
            </a:r>
            <a:r>
              <a:rPr lang="en-US" dirty="0" err="1"/>
              <a:t>oferta</a:t>
            </a:r>
            <a:r>
              <a:rPr lang="en-US" dirty="0"/>
              <a:t> y </a:t>
            </a:r>
            <a:r>
              <a:rPr lang="en-US" dirty="0" err="1"/>
              <a:t>demand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ostramos</a:t>
            </a:r>
            <a:r>
              <a:rPr lang="en-US" dirty="0"/>
              <a:t> </a:t>
            </a:r>
            <a:r>
              <a:rPr lang="en-US" dirty="0" err="1"/>
              <a:t>avance</a:t>
            </a:r>
            <a:r>
              <a:rPr lang="en-US" dirty="0"/>
              <a:t>: </a:t>
            </a:r>
            <a:r>
              <a:rPr lang="en-US" dirty="0" err="1"/>
              <a:t>deficiencias</a:t>
            </a:r>
            <a:r>
              <a:rPr lang="en-US" dirty="0"/>
              <a:t> y </a:t>
            </a:r>
            <a:r>
              <a:rPr lang="en-US" dirty="0" err="1"/>
              <a:t>limitaciones</a:t>
            </a:r>
            <a:r>
              <a:rPr lang="en-US" dirty="0"/>
              <a:t> </a:t>
            </a:r>
            <a:r>
              <a:rPr lang="en-US" dirty="0" err="1"/>
              <a:t>observada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nformes</a:t>
            </a:r>
            <a:r>
              <a:rPr lang="en-US" dirty="0"/>
              <a:t> de </a:t>
            </a:r>
            <a:r>
              <a:rPr lang="en-US" dirty="0" err="1"/>
              <a:t>comisión</a:t>
            </a:r>
            <a:r>
              <a:rPr lang="en-US" dirty="0"/>
              <a:t> anterior y </a:t>
            </a:r>
            <a:r>
              <a:rPr lang="en-US" dirty="0" err="1"/>
              <a:t>análisis</a:t>
            </a:r>
            <a:r>
              <a:rPr lang="en-US" dirty="0"/>
              <a:t> PUC; </a:t>
            </a:r>
            <a:r>
              <a:rPr lang="en-US" dirty="0" err="1"/>
              <a:t>estas</a:t>
            </a:r>
            <a:r>
              <a:rPr lang="en-US" dirty="0"/>
              <a:t> </a:t>
            </a:r>
            <a:r>
              <a:rPr lang="en-US" dirty="0" err="1"/>
              <a:t>ya</a:t>
            </a:r>
            <a:r>
              <a:rPr lang="en-US" dirty="0"/>
              <a:t> </a:t>
            </a:r>
            <a:r>
              <a:rPr lang="en-US" dirty="0" err="1"/>
              <a:t>fueron</a:t>
            </a:r>
            <a:r>
              <a:rPr lang="en-US" dirty="0"/>
              <a:t> </a:t>
            </a:r>
            <a:r>
              <a:rPr lang="en-US" dirty="0" err="1"/>
              <a:t>subsanada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ecordar</a:t>
            </a:r>
            <a:r>
              <a:rPr lang="en-US" dirty="0"/>
              <a:t> que </a:t>
            </a:r>
            <a:r>
              <a:rPr lang="en-US" dirty="0" err="1"/>
              <a:t>estamos</a:t>
            </a:r>
            <a:r>
              <a:rPr lang="en-US" dirty="0"/>
              <a:t> con mesa de </a:t>
            </a:r>
            <a:r>
              <a:rPr lang="en-US" dirty="0" err="1"/>
              <a:t>ayuda</a:t>
            </a:r>
            <a:r>
              <a:rPr lang="en-US" dirty="0"/>
              <a:t> y </a:t>
            </a:r>
            <a:r>
              <a:rPr lang="en-US" dirty="0" err="1"/>
              <a:t>capacitacione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La </a:t>
            </a:r>
            <a:r>
              <a:rPr lang="en-US" dirty="0" err="1">
                <a:highlight>
                  <a:srgbClr val="FFFF00"/>
                </a:highlight>
              </a:rPr>
              <a:t>lista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ya</a:t>
            </a:r>
            <a:r>
              <a:rPr lang="en-US" dirty="0">
                <a:highlight>
                  <a:srgbClr val="FFFF00"/>
                </a:highlight>
              </a:rPr>
              <a:t> no </a:t>
            </a:r>
            <a:r>
              <a:rPr lang="en-US" dirty="0" err="1">
                <a:highlight>
                  <a:srgbClr val="FFFF00"/>
                </a:highlight>
              </a:rPr>
              <a:t>tendrá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cierre</a:t>
            </a:r>
            <a:endParaRPr lang="en-US" dirty="0"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va</a:t>
            </a:r>
            <a:r>
              <a:rPr lang="en-US" dirty="0"/>
              <a:t> a </a:t>
            </a:r>
            <a:r>
              <a:rPr lang="en-US" dirty="0" err="1"/>
              <a:t>crecer</a:t>
            </a:r>
            <a:r>
              <a:rPr lang="en-US" dirty="0"/>
              <a:t> </a:t>
            </a:r>
            <a:r>
              <a:rPr lang="en-US" dirty="0" err="1"/>
              <a:t>porque</a:t>
            </a:r>
            <a:r>
              <a:rPr lang="en-US" dirty="0"/>
              <a:t> se van a </a:t>
            </a:r>
            <a:r>
              <a:rPr lang="en-US" dirty="0" err="1"/>
              <a:t>empezar</a:t>
            </a:r>
            <a:r>
              <a:rPr lang="en-US" dirty="0"/>
              <a:t> a </a:t>
            </a:r>
            <a:r>
              <a:rPr lang="en-US" dirty="0" err="1"/>
              <a:t>tributar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casos</a:t>
            </a:r>
            <a:r>
              <a:rPr lang="en-US" dirty="0"/>
              <a:t> que no </a:t>
            </a:r>
            <a:r>
              <a:rPr lang="en-US" dirty="0" err="1"/>
              <a:t>han</a:t>
            </a:r>
            <a:r>
              <a:rPr lang="en-US" dirty="0"/>
              <a:t> </a:t>
            </a:r>
            <a:r>
              <a:rPr lang="en-US" dirty="0" err="1"/>
              <a:t>sido</a:t>
            </a:r>
            <a:r>
              <a:rPr lang="en-US" dirty="0"/>
              <a:t> “</a:t>
            </a:r>
            <a:r>
              <a:rPr lang="en-US" dirty="0" err="1"/>
              <a:t>subidos</a:t>
            </a:r>
            <a:r>
              <a:rPr lang="en-US" dirty="0"/>
              <a:t>” al </a:t>
            </a:r>
            <a:r>
              <a:rPr lang="en-US" dirty="0" err="1"/>
              <a:t>registro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Esta</a:t>
            </a:r>
            <a:r>
              <a:rPr lang="en-US" dirty="0"/>
              <a:t>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la que </a:t>
            </a:r>
            <a:r>
              <a:rPr lang="en-US" dirty="0" err="1"/>
              <a:t>será</a:t>
            </a:r>
            <a:r>
              <a:rPr lang="en-US" dirty="0"/>
              <a:t> </a:t>
            </a:r>
            <a:r>
              <a:rPr lang="en-US" dirty="0" err="1"/>
              <a:t>utilizad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 </a:t>
            </a:r>
            <a:r>
              <a:rPr lang="en-US" dirty="0" err="1"/>
              <a:t>programación</a:t>
            </a:r>
            <a:r>
              <a:rPr lang="en-US" dirty="0"/>
              <a:t> de </a:t>
            </a:r>
            <a:r>
              <a:rPr lang="en-US" dirty="0" err="1"/>
              <a:t>pabellones</a:t>
            </a:r>
            <a:r>
              <a:rPr lang="en-US" dirty="0"/>
              <a:t>: </a:t>
            </a:r>
            <a:r>
              <a:rPr lang="en-US" dirty="0" err="1"/>
              <a:t>Transparente</a:t>
            </a:r>
            <a:r>
              <a:rPr lang="en-US" dirty="0"/>
              <a:t>, </a:t>
            </a:r>
            <a:r>
              <a:rPr lang="en-US" dirty="0" err="1"/>
              <a:t>priorizad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iesgo</a:t>
            </a:r>
            <a:r>
              <a:rPr lang="en-US" dirty="0"/>
              <a:t> </a:t>
            </a:r>
            <a:r>
              <a:rPr lang="en-US" dirty="0" err="1"/>
              <a:t>sanitario</a:t>
            </a:r>
            <a:r>
              <a:rPr lang="en-US" dirty="0"/>
              <a:t> </a:t>
            </a:r>
            <a:r>
              <a:rPr lang="en-US" dirty="0" err="1"/>
              <a:t>permitirá</a:t>
            </a:r>
            <a:r>
              <a:rPr lang="en-US" dirty="0"/>
              <a:t> </a:t>
            </a:r>
            <a:r>
              <a:rPr lang="en-US" dirty="0" err="1"/>
              <a:t>armar</a:t>
            </a:r>
            <a:r>
              <a:rPr lang="en-US" dirty="0"/>
              <a:t> </a:t>
            </a:r>
            <a:r>
              <a:rPr lang="en-US" dirty="0" err="1"/>
              <a:t>pirámide</a:t>
            </a:r>
            <a:r>
              <a:rPr lang="en-US" dirty="0"/>
              <a:t> para </a:t>
            </a:r>
            <a:r>
              <a:rPr lang="en-US" dirty="0" err="1"/>
              <a:t>controlar</a:t>
            </a:r>
            <a:r>
              <a:rPr lang="en-US" dirty="0"/>
              <a:t> </a:t>
            </a:r>
            <a:r>
              <a:rPr lang="en-US" dirty="0" err="1"/>
              <a:t>poblaciones</a:t>
            </a:r>
            <a:r>
              <a:rPr lang="en-US" dirty="0"/>
              <a:t> que </a:t>
            </a:r>
            <a:r>
              <a:rPr lang="en-US" dirty="0" err="1"/>
              <a:t>nos</a:t>
            </a:r>
            <a:r>
              <a:rPr lang="en-US" dirty="0"/>
              <a:t> </a:t>
            </a:r>
            <a:r>
              <a:rPr lang="en-US" dirty="0" err="1"/>
              <a:t>consumen</a:t>
            </a:r>
            <a:r>
              <a:rPr lang="en-US" dirty="0"/>
              <a:t> la mayor </a:t>
            </a:r>
            <a:r>
              <a:rPr lang="en-US" dirty="0" err="1"/>
              <a:t>cantidad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. Este </a:t>
            </a:r>
            <a:r>
              <a:rPr lang="en-US" dirty="0" err="1"/>
              <a:t>riesgo</a:t>
            </a:r>
            <a:r>
              <a:rPr lang="en-US" dirty="0"/>
              <a:t> </a:t>
            </a:r>
            <a:r>
              <a:rPr lang="en-US" dirty="0" err="1"/>
              <a:t>sanitario</a:t>
            </a:r>
            <a:r>
              <a:rPr lang="en-US" dirty="0"/>
              <a:t> </a:t>
            </a:r>
            <a:r>
              <a:rPr lang="en-US" dirty="0" err="1"/>
              <a:t>será</a:t>
            </a:r>
            <a:r>
              <a:rPr lang="en-US" dirty="0"/>
              <a:t> </a:t>
            </a:r>
            <a:r>
              <a:rPr lang="en-US" dirty="0" err="1"/>
              <a:t>utilizado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s </a:t>
            </a:r>
            <a:r>
              <a:rPr lang="en-US" dirty="0" err="1"/>
              <a:t>priorizaciones</a:t>
            </a:r>
            <a:r>
              <a:rPr lang="en-US" dirty="0"/>
              <a:t>. Los </a:t>
            </a:r>
            <a:r>
              <a:rPr lang="en-US" dirty="0" err="1"/>
              <a:t>riesgos</a:t>
            </a:r>
            <a:r>
              <a:rPr lang="en-US" dirty="0"/>
              <a:t> </a:t>
            </a:r>
            <a:r>
              <a:rPr lang="en-US" dirty="0" err="1"/>
              <a:t>sirven</a:t>
            </a:r>
            <a:r>
              <a:rPr lang="en-US" dirty="0"/>
              <a:t> para el </a:t>
            </a:r>
            <a:r>
              <a:rPr lang="en-US" dirty="0" err="1"/>
              <a:t>seguimiento</a:t>
            </a:r>
            <a:r>
              <a:rPr lang="en-US" dirty="0"/>
              <a:t> de </a:t>
            </a:r>
            <a:r>
              <a:rPr lang="en-US" dirty="0" err="1"/>
              <a:t>poblaciones</a:t>
            </a:r>
            <a:r>
              <a:rPr lang="en-US" dirty="0"/>
              <a:t>, con un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gestión</a:t>
            </a:r>
            <a:r>
              <a:rPr lang="en-US" dirty="0"/>
              <a:t> de </a:t>
            </a:r>
            <a:r>
              <a:rPr lang="en-US" dirty="0" err="1"/>
              <a:t>casos</a:t>
            </a:r>
            <a:r>
              <a:rPr lang="en-US" dirty="0"/>
              <a:t> (instrument para </a:t>
            </a:r>
            <a:r>
              <a:rPr lang="en-US" dirty="0" err="1"/>
              <a:t>hacer</a:t>
            </a:r>
            <a:r>
              <a:rPr lang="en-US" dirty="0"/>
              <a:t> </a:t>
            </a:r>
            <a:r>
              <a:rPr lang="en-US" dirty="0" err="1"/>
              <a:t>seguimiento</a:t>
            </a:r>
            <a:r>
              <a:rPr lang="en-US" dirty="0"/>
              <a:t> </a:t>
            </a:r>
            <a:r>
              <a:rPr lang="en-US" dirty="0" err="1"/>
              <a:t>según</a:t>
            </a:r>
            <a:r>
              <a:rPr lang="en-US" dirty="0"/>
              <a:t> las </a:t>
            </a:r>
            <a:r>
              <a:rPr lang="en-US" dirty="0" err="1"/>
              <a:t>poblaciones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eguimiento</a:t>
            </a:r>
            <a:r>
              <a:rPr lang="en-US" dirty="0"/>
              <a:t> de </a:t>
            </a:r>
            <a:r>
              <a:rPr lang="en-US" dirty="0" err="1"/>
              <a:t>poblaciones</a:t>
            </a:r>
            <a:r>
              <a:rPr lang="en-US" dirty="0"/>
              <a:t> </a:t>
            </a:r>
            <a:r>
              <a:rPr lang="en-US" dirty="0" err="1"/>
              <a:t>atiende</a:t>
            </a:r>
            <a:r>
              <a:rPr lang="en-US" dirty="0"/>
              <a:t> a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lo </a:t>
            </a:r>
            <a:r>
              <a:rPr lang="en-US" dirty="0" err="1"/>
              <a:t>necesitan</a:t>
            </a:r>
            <a:r>
              <a:rPr lang="en-US" dirty="0"/>
              <a:t> y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nsumen</a:t>
            </a:r>
            <a:r>
              <a:rPr lang="en-US" dirty="0"/>
              <a:t> </a:t>
            </a:r>
            <a:r>
              <a:rPr lang="en-US" dirty="0" err="1"/>
              <a:t>recursos</a:t>
            </a:r>
            <a:r>
              <a:rPr lang="en-US" dirty="0"/>
              <a:t> (</a:t>
            </a:r>
            <a:r>
              <a:rPr lang="en-US" dirty="0" err="1"/>
              <a:t>parte</a:t>
            </a:r>
            <a:r>
              <a:rPr lang="en-US" dirty="0"/>
              <a:t> media de la </a:t>
            </a:r>
            <a:r>
              <a:rPr lang="en-US" dirty="0" err="1"/>
              <a:t>pirámide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Gestiones</a:t>
            </a:r>
            <a:r>
              <a:rPr lang="en-US" dirty="0"/>
              <a:t> para qu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hospitales</a:t>
            </a:r>
            <a:r>
              <a:rPr lang="en-US" dirty="0"/>
              <a:t> y SS para que </a:t>
            </a:r>
            <a:r>
              <a:rPr lang="en-US" dirty="0" err="1"/>
              <a:t>generen</a:t>
            </a:r>
            <a:r>
              <a:rPr lang="en-US" dirty="0"/>
              <a:t> Indicadores con CNP (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olaboración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 la GES </a:t>
            </a:r>
            <a:r>
              <a:rPr lang="en-US" dirty="0" err="1"/>
              <a:t>vamos</a:t>
            </a:r>
            <a:r>
              <a:rPr lang="en-US" dirty="0"/>
              <a:t> a </a:t>
            </a:r>
            <a:r>
              <a:rPr lang="en-US" dirty="0" err="1"/>
              <a:t>mejorar</a:t>
            </a:r>
            <a:r>
              <a:rPr lang="en-US" dirty="0"/>
              <a:t> el </a:t>
            </a:r>
            <a:r>
              <a:rPr lang="en-US" dirty="0" err="1"/>
              <a:t>proceso</a:t>
            </a:r>
            <a:r>
              <a:rPr lang="en-US" dirty="0"/>
              <a:t> de </a:t>
            </a:r>
            <a:r>
              <a:rPr lang="en-US" dirty="0" err="1"/>
              <a:t>planificación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 de la red. </a:t>
            </a:r>
            <a:r>
              <a:rPr lang="en-US" dirty="0" err="1"/>
              <a:t>Trabajo</a:t>
            </a:r>
            <a:r>
              <a:rPr lang="en-US" dirty="0"/>
              <a:t> annual para </a:t>
            </a:r>
            <a:r>
              <a:rPr lang="en-US" dirty="0" err="1"/>
              <a:t>ajustar</a:t>
            </a:r>
            <a:r>
              <a:rPr lang="en-US" dirty="0"/>
              <a:t> </a:t>
            </a:r>
            <a:r>
              <a:rPr lang="en-US" dirty="0" err="1"/>
              <a:t>capacidades</a:t>
            </a:r>
            <a:r>
              <a:rPr lang="en-US" dirty="0"/>
              <a:t> de la 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programación</a:t>
            </a:r>
            <a:r>
              <a:rPr lang="en-US" dirty="0"/>
              <a:t> de </a:t>
            </a:r>
            <a:r>
              <a:rPr lang="en-US" dirty="0" err="1"/>
              <a:t>pabellones</a:t>
            </a:r>
            <a:r>
              <a:rPr lang="en-US" dirty="0"/>
              <a:t> </a:t>
            </a:r>
            <a:r>
              <a:rPr lang="en-US" dirty="0" err="1"/>
              <a:t>debe</a:t>
            </a:r>
            <a:r>
              <a:rPr lang="en-US" dirty="0"/>
              <a:t> </a:t>
            </a:r>
            <a:r>
              <a:rPr lang="en-US" dirty="0" err="1"/>
              <a:t>ser</a:t>
            </a:r>
            <a:r>
              <a:rPr lang="en-US" dirty="0"/>
              <a:t> flexible  y de </a:t>
            </a:r>
            <a:r>
              <a:rPr lang="en-US" dirty="0" err="1"/>
              <a:t>acuerdo</a:t>
            </a:r>
            <a:r>
              <a:rPr lang="en-US" dirty="0"/>
              <a:t> a las </a:t>
            </a:r>
            <a:r>
              <a:rPr lang="en-US" dirty="0" err="1"/>
              <a:t>necesidades</a:t>
            </a:r>
            <a:r>
              <a:rPr lang="en-US" dirty="0"/>
              <a:t> de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estan</a:t>
            </a:r>
            <a:r>
              <a:rPr lang="en-US" dirty="0"/>
              <a:t> </a:t>
            </a:r>
            <a:r>
              <a:rPr lang="en-US" dirty="0" err="1"/>
              <a:t>esperando</a:t>
            </a:r>
            <a:r>
              <a:rPr lang="en-US" dirty="0"/>
              <a:t>. No </a:t>
            </a:r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ser</a:t>
            </a:r>
            <a:r>
              <a:rPr lang="en-US" dirty="0"/>
              <a:t> un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asignación</a:t>
            </a:r>
            <a:r>
              <a:rPr lang="en-US" dirty="0"/>
              <a:t> </a:t>
            </a:r>
            <a:r>
              <a:rPr lang="en-US" dirty="0" err="1"/>
              <a:t>fijo</a:t>
            </a:r>
            <a:r>
              <a:rPr lang="en-US" dirty="0"/>
              <a:t>. </a:t>
            </a:r>
            <a:r>
              <a:rPr lang="en-US" dirty="0" err="1"/>
              <a:t>Siempre</a:t>
            </a:r>
            <a:r>
              <a:rPr lang="en-US" dirty="0"/>
              <a:t> hay que </a:t>
            </a:r>
            <a:r>
              <a:rPr lang="en-US" dirty="0" err="1"/>
              <a:t>estar</a:t>
            </a:r>
            <a:r>
              <a:rPr lang="en-US" dirty="0"/>
              <a:t> </a:t>
            </a:r>
            <a:r>
              <a:rPr lang="en-US" dirty="0" err="1"/>
              <a:t>mirando</a:t>
            </a:r>
            <a:r>
              <a:rPr lang="en-US" dirty="0"/>
              <a:t> la </a:t>
            </a:r>
            <a:r>
              <a:rPr lang="en-US" dirty="0" err="1"/>
              <a:t>demand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oordinación</a:t>
            </a:r>
            <a:r>
              <a:rPr lang="en-US" dirty="0"/>
              <a:t> RI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6601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DEAS CENTRALE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ada</a:t>
            </a:r>
            <a:r>
              <a:rPr lang="en-US" dirty="0"/>
              <a:t> SS </a:t>
            </a:r>
            <a:r>
              <a:rPr lang="en-US" dirty="0" err="1"/>
              <a:t>conoce</a:t>
            </a:r>
            <a:r>
              <a:rPr lang="en-US" dirty="0"/>
              <a:t> a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población</a:t>
            </a:r>
            <a:r>
              <a:rPr lang="en-US" dirty="0"/>
              <a:t>,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realidad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distinta</a:t>
            </a:r>
            <a:r>
              <a:rPr lang="en-US" dirty="0"/>
              <a:t>, temenos que </a:t>
            </a:r>
            <a:r>
              <a:rPr lang="en-US" dirty="0" err="1"/>
              <a:t>ajustarnos</a:t>
            </a:r>
            <a:r>
              <a:rPr lang="en-US" dirty="0"/>
              <a:t> al </a:t>
            </a:r>
            <a:r>
              <a:rPr lang="en-US" dirty="0" err="1"/>
              <a:t>máximo</a:t>
            </a:r>
            <a:r>
              <a:rPr lang="en-US" dirty="0"/>
              <a:t> con la </a:t>
            </a:r>
            <a:r>
              <a:rPr lang="en-US" dirty="0" err="1"/>
              <a:t>demana</a:t>
            </a:r>
            <a:r>
              <a:rPr lang="en-US" dirty="0"/>
              <a:t>. </a:t>
            </a:r>
            <a:r>
              <a:rPr lang="en-US" dirty="0" err="1"/>
              <a:t>Tenemos</a:t>
            </a:r>
            <a:r>
              <a:rPr lang="en-US" dirty="0"/>
              <a:t> que </a:t>
            </a:r>
            <a:r>
              <a:rPr lang="en-US" dirty="0" err="1"/>
              <a:t>hacer</a:t>
            </a:r>
            <a:r>
              <a:rPr lang="en-US" dirty="0"/>
              <a:t> </a:t>
            </a:r>
            <a:r>
              <a:rPr lang="en-US" dirty="0" err="1"/>
              <a:t>calzar</a:t>
            </a:r>
            <a:r>
              <a:rPr lang="en-US" dirty="0"/>
              <a:t> </a:t>
            </a:r>
            <a:r>
              <a:rPr lang="en-US" dirty="0" err="1"/>
              <a:t>oferta</a:t>
            </a:r>
            <a:r>
              <a:rPr lang="en-US" dirty="0"/>
              <a:t> y </a:t>
            </a:r>
            <a:r>
              <a:rPr lang="en-US" dirty="0" err="1"/>
              <a:t>demand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ostramos</a:t>
            </a:r>
            <a:r>
              <a:rPr lang="en-US" dirty="0"/>
              <a:t> </a:t>
            </a:r>
            <a:r>
              <a:rPr lang="en-US" dirty="0" err="1"/>
              <a:t>avance</a:t>
            </a:r>
            <a:r>
              <a:rPr lang="en-US" dirty="0"/>
              <a:t>: </a:t>
            </a:r>
            <a:r>
              <a:rPr lang="en-US" dirty="0" err="1"/>
              <a:t>deficiencias</a:t>
            </a:r>
            <a:r>
              <a:rPr lang="en-US" dirty="0"/>
              <a:t> y </a:t>
            </a:r>
            <a:r>
              <a:rPr lang="en-US" dirty="0" err="1"/>
              <a:t>limitaciones</a:t>
            </a:r>
            <a:r>
              <a:rPr lang="en-US" dirty="0"/>
              <a:t> </a:t>
            </a:r>
            <a:r>
              <a:rPr lang="en-US" dirty="0" err="1"/>
              <a:t>observada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nformes</a:t>
            </a:r>
            <a:r>
              <a:rPr lang="en-US" dirty="0"/>
              <a:t> de </a:t>
            </a:r>
            <a:r>
              <a:rPr lang="en-US" dirty="0" err="1"/>
              <a:t>comisión</a:t>
            </a:r>
            <a:r>
              <a:rPr lang="en-US" dirty="0"/>
              <a:t> anterior y </a:t>
            </a:r>
            <a:r>
              <a:rPr lang="en-US" dirty="0" err="1"/>
              <a:t>análisis</a:t>
            </a:r>
            <a:r>
              <a:rPr lang="en-US" dirty="0"/>
              <a:t> PUC; </a:t>
            </a:r>
            <a:r>
              <a:rPr lang="en-US" dirty="0" err="1"/>
              <a:t>estas</a:t>
            </a:r>
            <a:r>
              <a:rPr lang="en-US" dirty="0"/>
              <a:t> </a:t>
            </a:r>
            <a:r>
              <a:rPr lang="en-US" dirty="0" err="1"/>
              <a:t>ya</a:t>
            </a:r>
            <a:r>
              <a:rPr lang="en-US" dirty="0"/>
              <a:t> </a:t>
            </a:r>
            <a:r>
              <a:rPr lang="en-US" dirty="0" err="1"/>
              <a:t>fueron</a:t>
            </a:r>
            <a:r>
              <a:rPr lang="en-US" dirty="0"/>
              <a:t> </a:t>
            </a:r>
            <a:r>
              <a:rPr lang="en-US" dirty="0" err="1"/>
              <a:t>subsanada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ecordar</a:t>
            </a:r>
            <a:r>
              <a:rPr lang="en-US" dirty="0"/>
              <a:t> que </a:t>
            </a:r>
            <a:r>
              <a:rPr lang="en-US" dirty="0" err="1"/>
              <a:t>estamos</a:t>
            </a:r>
            <a:r>
              <a:rPr lang="en-US" dirty="0"/>
              <a:t> con mesa de </a:t>
            </a:r>
            <a:r>
              <a:rPr lang="en-US" dirty="0" err="1"/>
              <a:t>ayuda</a:t>
            </a:r>
            <a:r>
              <a:rPr lang="en-US" dirty="0"/>
              <a:t> y </a:t>
            </a:r>
            <a:r>
              <a:rPr lang="en-US" dirty="0" err="1"/>
              <a:t>capacitacione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highlight>
                  <a:srgbClr val="FFFF00"/>
                </a:highlight>
              </a:rPr>
              <a:t>La </a:t>
            </a:r>
            <a:r>
              <a:rPr lang="en-US" dirty="0" err="1">
                <a:highlight>
                  <a:srgbClr val="FFFF00"/>
                </a:highlight>
              </a:rPr>
              <a:t>lista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ya</a:t>
            </a:r>
            <a:r>
              <a:rPr lang="en-US" dirty="0">
                <a:highlight>
                  <a:srgbClr val="FFFF00"/>
                </a:highlight>
              </a:rPr>
              <a:t> no </a:t>
            </a:r>
            <a:r>
              <a:rPr lang="en-US" dirty="0" err="1">
                <a:highlight>
                  <a:srgbClr val="FFFF00"/>
                </a:highlight>
              </a:rPr>
              <a:t>tendrá</a:t>
            </a:r>
            <a:r>
              <a:rPr lang="en-US" dirty="0">
                <a:highlight>
                  <a:srgbClr val="FFFF00"/>
                </a:highlight>
              </a:rPr>
              <a:t> </a:t>
            </a:r>
            <a:r>
              <a:rPr lang="en-US" dirty="0" err="1">
                <a:highlight>
                  <a:srgbClr val="FFFF00"/>
                </a:highlight>
              </a:rPr>
              <a:t>cierre</a:t>
            </a:r>
            <a:endParaRPr lang="en-US" dirty="0">
              <a:highlight>
                <a:srgbClr val="FFFF00"/>
              </a:highlight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va</a:t>
            </a:r>
            <a:r>
              <a:rPr lang="en-US" dirty="0"/>
              <a:t> a </a:t>
            </a:r>
            <a:r>
              <a:rPr lang="en-US" dirty="0" err="1"/>
              <a:t>crecer</a:t>
            </a:r>
            <a:r>
              <a:rPr lang="en-US" dirty="0"/>
              <a:t> </a:t>
            </a:r>
            <a:r>
              <a:rPr lang="en-US" dirty="0" err="1"/>
              <a:t>porque</a:t>
            </a:r>
            <a:r>
              <a:rPr lang="en-US" dirty="0"/>
              <a:t> se van a </a:t>
            </a:r>
            <a:r>
              <a:rPr lang="en-US" dirty="0" err="1"/>
              <a:t>empezar</a:t>
            </a:r>
            <a:r>
              <a:rPr lang="en-US" dirty="0"/>
              <a:t> a </a:t>
            </a:r>
            <a:r>
              <a:rPr lang="en-US" dirty="0" err="1"/>
              <a:t>tributar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casos</a:t>
            </a:r>
            <a:r>
              <a:rPr lang="en-US" dirty="0"/>
              <a:t> que no </a:t>
            </a:r>
            <a:r>
              <a:rPr lang="en-US" dirty="0" err="1"/>
              <a:t>han</a:t>
            </a:r>
            <a:r>
              <a:rPr lang="en-US" dirty="0"/>
              <a:t> </a:t>
            </a:r>
            <a:r>
              <a:rPr lang="en-US" dirty="0" err="1"/>
              <a:t>sido</a:t>
            </a:r>
            <a:r>
              <a:rPr lang="en-US" dirty="0"/>
              <a:t> “</a:t>
            </a:r>
            <a:r>
              <a:rPr lang="en-US" dirty="0" err="1"/>
              <a:t>subidos</a:t>
            </a:r>
            <a:r>
              <a:rPr lang="en-US" dirty="0"/>
              <a:t>” al </a:t>
            </a:r>
            <a:r>
              <a:rPr lang="en-US" dirty="0" err="1"/>
              <a:t>registro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Esta</a:t>
            </a:r>
            <a:r>
              <a:rPr lang="en-US" dirty="0"/>
              <a:t> </a:t>
            </a:r>
            <a:r>
              <a:rPr lang="en-US" dirty="0" err="1"/>
              <a:t>lista</a:t>
            </a:r>
            <a:r>
              <a:rPr lang="en-US" dirty="0"/>
              <a:t> </a:t>
            </a:r>
            <a:r>
              <a:rPr lang="en-US" dirty="0" err="1"/>
              <a:t>es</a:t>
            </a:r>
            <a:r>
              <a:rPr lang="en-US" dirty="0"/>
              <a:t> la que </a:t>
            </a:r>
            <a:r>
              <a:rPr lang="en-US" dirty="0" err="1"/>
              <a:t>será</a:t>
            </a:r>
            <a:r>
              <a:rPr lang="en-US" dirty="0"/>
              <a:t> </a:t>
            </a:r>
            <a:r>
              <a:rPr lang="en-US" dirty="0" err="1"/>
              <a:t>utilizad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 </a:t>
            </a:r>
            <a:r>
              <a:rPr lang="en-US" dirty="0" err="1"/>
              <a:t>programación</a:t>
            </a:r>
            <a:r>
              <a:rPr lang="en-US" dirty="0"/>
              <a:t> de </a:t>
            </a:r>
            <a:r>
              <a:rPr lang="en-US" dirty="0" err="1"/>
              <a:t>pabellones</a:t>
            </a:r>
            <a:r>
              <a:rPr lang="en-US" dirty="0"/>
              <a:t>: </a:t>
            </a:r>
            <a:r>
              <a:rPr lang="en-US" dirty="0" err="1"/>
              <a:t>Transparente</a:t>
            </a:r>
            <a:r>
              <a:rPr lang="en-US" dirty="0"/>
              <a:t>, </a:t>
            </a:r>
            <a:r>
              <a:rPr lang="en-US" dirty="0" err="1"/>
              <a:t>priorizad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iesgo</a:t>
            </a:r>
            <a:r>
              <a:rPr lang="en-US" dirty="0"/>
              <a:t> </a:t>
            </a:r>
            <a:r>
              <a:rPr lang="en-US" dirty="0" err="1"/>
              <a:t>sanitario</a:t>
            </a:r>
            <a:r>
              <a:rPr lang="en-US" dirty="0"/>
              <a:t> </a:t>
            </a:r>
            <a:r>
              <a:rPr lang="en-US" dirty="0" err="1"/>
              <a:t>permitirá</a:t>
            </a:r>
            <a:r>
              <a:rPr lang="en-US" dirty="0"/>
              <a:t> </a:t>
            </a:r>
            <a:r>
              <a:rPr lang="en-US" dirty="0" err="1"/>
              <a:t>armar</a:t>
            </a:r>
            <a:r>
              <a:rPr lang="en-US" dirty="0"/>
              <a:t> </a:t>
            </a:r>
            <a:r>
              <a:rPr lang="en-US" dirty="0" err="1"/>
              <a:t>pirámide</a:t>
            </a:r>
            <a:r>
              <a:rPr lang="en-US" dirty="0"/>
              <a:t> para </a:t>
            </a:r>
            <a:r>
              <a:rPr lang="en-US" dirty="0" err="1"/>
              <a:t>controlar</a:t>
            </a:r>
            <a:r>
              <a:rPr lang="en-US" dirty="0"/>
              <a:t> </a:t>
            </a:r>
            <a:r>
              <a:rPr lang="en-US" dirty="0" err="1"/>
              <a:t>poblaciones</a:t>
            </a:r>
            <a:r>
              <a:rPr lang="en-US" dirty="0"/>
              <a:t> que </a:t>
            </a:r>
            <a:r>
              <a:rPr lang="en-US" dirty="0" err="1"/>
              <a:t>nos</a:t>
            </a:r>
            <a:r>
              <a:rPr lang="en-US" dirty="0"/>
              <a:t> </a:t>
            </a:r>
            <a:r>
              <a:rPr lang="en-US" dirty="0" err="1"/>
              <a:t>consumen</a:t>
            </a:r>
            <a:r>
              <a:rPr lang="en-US" dirty="0"/>
              <a:t> la mayor </a:t>
            </a:r>
            <a:r>
              <a:rPr lang="en-US" dirty="0" err="1"/>
              <a:t>cantidad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. Este </a:t>
            </a:r>
            <a:r>
              <a:rPr lang="en-US" dirty="0" err="1"/>
              <a:t>riesgo</a:t>
            </a:r>
            <a:r>
              <a:rPr lang="en-US" dirty="0"/>
              <a:t> </a:t>
            </a:r>
            <a:r>
              <a:rPr lang="en-US" dirty="0" err="1"/>
              <a:t>sanitario</a:t>
            </a:r>
            <a:r>
              <a:rPr lang="en-US" dirty="0"/>
              <a:t> </a:t>
            </a:r>
            <a:r>
              <a:rPr lang="en-US" dirty="0" err="1"/>
              <a:t>será</a:t>
            </a:r>
            <a:r>
              <a:rPr lang="en-US" dirty="0"/>
              <a:t> </a:t>
            </a:r>
            <a:r>
              <a:rPr lang="en-US" dirty="0" err="1"/>
              <a:t>utilizado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s </a:t>
            </a:r>
            <a:r>
              <a:rPr lang="en-US" dirty="0" err="1"/>
              <a:t>priorizaciones</a:t>
            </a:r>
            <a:r>
              <a:rPr lang="en-US" dirty="0"/>
              <a:t>. Los </a:t>
            </a:r>
            <a:r>
              <a:rPr lang="en-US" dirty="0" err="1"/>
              <a:t>riesgos</a:t>
            </a:r>
            <a:r>
              <a:rPr lang="en-US" dirty="0"/>
              <a:t> </a:t>
            </a:r>
            <a:r>
              <a:rPr lang="en-US" dirty="0" err="1"/>
              <a:t>sirven</a:t>
            </a:r>
            <a:r>
              <a:rPr lang="en-US" dirty="0"/>
              <a:t> para el </a:t>
            </a:r>
            <a:r>
              <a:rPr lang="en-US" dirty="0" err="1"/>
              <a:t>seguimiento</a:t>
            </a:r>
            <a:r>
              <a:rPr lang="en-US" dirty="0"/>
              <a:t> de </a:t>
            </a:r>
            <a:r>
              <a:rPr lang="en-US" dirty="0" err="1"/>
              <a:t>poblaciones</a:t>
            </a:r>
            <a:r>
              <a:rPr lang="en-US" dirty="0"/>
              <a:t>, con un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gestión</a:t>
            </a:r>
            <a:r>
              <a:rPr lang="en-US" dirty="0"/>
              <a:t> de </a:t>
            </a:r>
            <a:r>
              <a:rPr lang="en-US" dirty="0" err="1"/>
              <a:t>casos</a:t>
            </a:r>
            <a:r>
              <a:rPr lang="en-US" dirty="0"/>
              <a:t> (instrument para </a:t>
            </a:r>
            <a:r>
              <a:rPr lang="en-US" dirty="0" err="1"/>
              <a:t>hacer</a:t>
            </a:r>
            <a:r>
              <a:rPr lang="en-US" dirty="0"/>
              <a:t> </a:t>
            </a:r>
            <a:r>
              <a:rPr lang="en-US" dirty="0" err="1"/>
              <a:t>seguimiento</a:t>
            </a:r>
            <a:r>
              <a:rPr lang="en-US" dirty="0"/>
              <a:t> </a:t>
            </a:r>
            <a:r>
              <a:rPr lang="en-US" dirty="0" err="1"/>
              <a:t>según</a:t>
            </a:r>
            <a:r>
              <a:rPr lang="en-US" dirty="0"/>
              <a:t> las </a:t>
            </a:r>
            <a:r>
              <a:rPr lang="en-US" dirty="0" err="1"/>
              <a:t>poblaciones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Seguimiento</a:t>
            </a:r>
            <a:r>
              <a:rPr lang="en-US" dirty="0"/>
              <a:t> de </a:t>
            </a:r>
            <a:r>
              <a:rPr lang="en-US" dirty="0" err="1"/>
              <a:t>poblaciones</a:t>
            </a:r>
            <a:r>
              <a:rPr lang="en-US" dirty="0"/>
              <a:t> </a:t>
            </a:r>
            <a:r>
              <a:rPr lang="en-US" dirty="0" err="1"/>
              <a:t>atiende</a:t>
            </a:r>
            <a:r>
              <a:rPr lang="en-US" dirty="0"/>
              <a:t> a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lo </a:t>
            </a:r>
            <a:r>
              <a:rPr lang="en-US" dirty="0" err="1"/>
              <a:t>necesitan</a:t>
            </a:r>
            <a:r>
              <a:rPr lang="en-US" dirty="0"/>
              <a:t> y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más</a:t>
            </a:r>
            <a:r>
              <a:rPr lang="en-US" dirty="0"/>
              <a:t> </a:t>
            </a:r>
            <a:r>
              <a:rPr lang="en-US" dirty="0" err="1"/>
              <a:t>consumen</a:t>
            </a:r>
            <a:r>
              <a:rPr lang="en-US" dirty="0"/>
              <a:t> </a:t>
            </a:r>
            <a:r>
              <a:rPr lang="en-US" dirty="0" err="1"/>
              <a:t>recursos</a:t>
            </a:r>
            <a:r>
              <a:rPr lang="en-US" dirty="0"/>
              <a:t> (</a:t>
            </a:r>
            <a:r>
              <a:rPr lang="en-US" dirty="0" err="1"/>
              <a:t>parte</a:t>
            </a:r>
            <a:r>
              <a:rPr lang="en-US" dirty="0"/>
              <a:t> media de la </a:t>
            </a:r>
            <a:r>
              <a:rPr lang="en-US" dirty="0" err="1"/>
              <a:t>pirámide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Gestiones</a:t>
            </a:r>
            <a:r>
              <a:rPr lang="en-US" dirty="0"/>
              <a:t> para qu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hospitales</a:t>
            </a:r>
            <a:r>
              <a:rPr lang="en-US" dirty="0"/>
              <a:t> y SS para que </a:t>
            </a:r>
            <a:r>
              <a:rPr lang="en-US" dirty="0" err="1"/>
              <a:t>generen</a:t>
            </a:r>
            <a:r>
              <a:rPr lang="en-US" dirty="0"/>
              <a:t> Indicadores con CNP (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olaboración</a:t>
            </a:r>
            <a:r>
              <a:rPr lang="en-US" dirty="0"/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on la GES </a:t>
            </a:r>
            <a:r>
              <a:rPr lang="en-US" dirty="0" err="1"/>
              <a:t>vamos</a:t>
            </a:r>
            <a:r>
              <a:rPr lang="en-US" dirty="0"/>
              <a:t> a </a:t>
            </a:r>
            <a:r>
              <a:rPr lang="en-US" dirty="0" err="1"/>
              <a:t>mejorar</a:t>
            </a:r>
            <a:r>
              <a:rPr lang="en-US" dirty="0"/>
              <a:t> el </a:t>
            </a:r>
            <a:r>
              <a:rPr lang="en-US" dirty="0" err="1"/>
              <a:t>proceso</a:t>
            </a:r>
            <a:r>
              <a:rPr lang="en-US" dirty="0"/>
              <a:t> de </a:t>
            </a:r>
            <a:r>
              <a:rPr lang="en-US" dirty="0" err="1"/>
              <a:t>planificación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 de la red. </a:t>
            </a:r>
            <a:r>
              <a:rPr lang="en-US" dirty="0" err="1"/>
              <a:t>Trabajo</a:t>
            </a:r>
            <a:r>
              <a:rPr lang="en-US" dirty="0"/>
              <a:t> annual para </a:t>
            </a:r>
            <a:r>
              <a:rPr lang="en-US" dirty="0" err="1"/>
              <a:t>ajustar</a:t>
            </a:r>
            <a:r>
              <a:rPr lang="en-US" dirty="0"/>
              <a:t> </a:t>
            </a:r>
            <a:r>
              <a:rPr lang="en-US" dirty="0" err="1"/>
              <a:t>capacidades</a:t>
            </a:r>
            <a:r>
              <a:rPr lang="en-US" dirty="0"/>
              <a:t> de la 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programación</a:t>
            </a:r>
            <a:r>
              <a:rPr lang="en-US" dirty="0"/>
              <a:t> de </a:t>
            </a:r>
            <a:r>
              <a:rPr lang="en-US" dirty="0" err="1"/>
              <a:t>pabellones</a:t>
            </a:r>
            <a:r>
              <a:rPr lang="en-US" dirty="0"/>
              <a:t> </a:t>
            </a:r>
            <a:r>
              <a:rPr lang="en-US" dirty="0" err="1"/>
              <a:t>debe</a:t>
            </a:r>
            <a:r>
              <a:rPr lang="en-US" dirty="0"/>
              <a:t> </a:t>
            </a:r>
            <a:r>
              <a:rPr lang="en-US" dirty="0" err="1"/>
              <a:t>ser</a:t>
            </a:r>
            <a:r>
              <a:rPr lang="en-US" dirty="0"/>
              <a:t> flexible  y de </a:t>
            </a:r>
            <a:r>
              <a:rPr lang="en-US" dirty="0" err="1"/>
              <a:t>acuerdo</a:t>
            </a:r>
            <a:r>
              <a:rPr lang="en-US" dirty="0"/>
              <a:t> a las </a:t>
            </a:r>
            <a:r>
              <a:rPr lang="en-US" dirty="0" err="1"/>
              <a:t>necesidades</a:t>
            </a:r>
            <a:r>
              <a:rPr lang="en-US" dirty="0"/>
              <a:t> de </a:t>
            </a:r>
            <a:r>
              <a:rPr lang="en-US" dirty="0" err="1"/>
              <a:t>quienes</a:t>
            </a:r>
            <a:r>
              <a:rPr lang="en-US" dirty="0"/>
              <a:t> </a:t>
            </a:r>
            <a:r>
              <a:rPr lang="en-US" dirty="0" err="1"/>
              <a:t>estan</a:t>
            </a:r>
            <a:r>
              <a:rPr lang="en-US" dirty="0"/>
              <a:t> </a:t>
            </a:r>
            <a:r>
              <a:rPr lang="en-US" dirty="0" err="1"/>
              <a:t>esperando</a:t>
            </a:r>
            <a:r>
              <a:rPr lang="en-US" dirty="0"/>
              <a:t>. No </a:t>
            </a:r>
            <a:r>
              <a:rPr lang="en-US" dirty="0" err="1"/>
              <a:t>puede</a:t>
            </a:r>
            <a:r>
              <a:rPr lang="en-US" dirty="0"/>
              <a:t> </a:t>
            </a:r>
            <a:r>
              <a:rPr lang="en-US" dirty="0" err="1"/>
              <a:t>ser</a:t>
            </a:r>
            <a:r>
              <a:rPr lang="en-US" dirty="0"/>
              <a:t> un </a:t>
            </a:r>
            <a:r>
              <a:rPr lang="en-US" dirty="0" err="1"/>
              <a:t>modelo</a:t>
            </a:r>
            <a:r>
              <a:rPr lang="en-US" dirty="0"/>
              <a:t> de </a:t>
            </a:r>
            <a:r>
              <a:rPr lang="en-US" dirty="0" err="1"/>
              <a:t>asignación</a:t>
            </a:r>
            <a:r>
              <a:rPr lang="en-US" dirty="0"/>
              <a:t> </a:t>
            </a:r>
            <a:r>
              <a:rPr lang="en-US" dirty="0" err="1"/>
              <a:t>fijo</a:t>
            </a:r>
            <a:r>
              <a:rPr lang="en-US" dirty="0"/>
              <a:t>. </a:t>
            </a:r>
            <a:r>
              <a:rPr lang="en-US" dirty="0" err="1"/>
              <a:t>Siempre</a:t>
            </a:r>
            <a:r>
              <a:rPr lang="en-US" dirty="0"/>
              <a:t> hay que </a:t>
            </a:r>
            <a:r>
              <a:rPr lang="en-US" dirty="0" err="1"/>
              <a:t>estar</a:t>
            </a:r>
            <a:r>
              <a:rPr lang="en-US" dirty="0"/>
              <a:t> </a:t>
            </a:r>
            <a:r>
              <a:rPr lang="en-US" dirty="0" err="1"/>
              <a:t>mirando</a:t>
            </a:r>
            <a:r>
              <a:rPr lang="en-US" dirty="0"/>
              <a:t> la </a:t>
            </a:r>
            <a:r>
              <a:rPr lang="en-US" dirty="0" err="1"/>
              <a:t>demanda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oordinación</a:t>
            </a:r>
            <a:r>
              <a:rPr lang="en-US" dirty="0"/>
              <a:t> RI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781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9730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NLE: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e </a:t>
            </a:r>
            <a:r>
              <a:rPr lang="en-US" dirty="0" err="1"/>
              <a:t>detectaron</a:t>
            </a:r>
            <a:r>
              <a:rPr lang="en-US" dirty="0"/>
              <a:t> </a:t>
            </a:r>
            <a:r>
              <a:rPr lang="en-US" dirty="0" err="1"/>
              <a:t>condiciones</a:t>
            </a:r>
            <a:r>
              <a:rPr lang="en-US" dirty="0"/>
              <a:t> que </a:t>
            </a:r>
            <a:r>
              <a:rPr lang="en-US" dirty="0" err="1"/>
              <a:t>generan</a:t>
            </a:r>
            <a:r>
              <a:rPr lang="en-US" dirty="0"/>
              <a:t> gran </a:t>
            </a:r>
            <a:r>
              <a:rPr lang="en-US" dirty="0" err="1"/>
              <a:t>variabilidad</a:t>
            </a:r>
            <a:r>
              <a:rPr lang="en-US" dirty="0"/>
              <a:t> de la </a:t>
            </a:r>
            <a:r>
              <a:rPr lang="en-US" dirty="0" err="1"/>
              <a:t>información</a:t>
            </a:r>
            <a:r>
              <a:rPr lang="en-US" dirty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Causales</a:t>
            </a:r>
            <a:r>
              <a:rPr lang="en-US" dirty="0"/>
              <a:t> de </a:t>
            </a:r>
            <a:r>
              <a:rPr lang="en-US" dirty="0" err="1"/>
              <a:t>egreso</a:t>
            </a:r>
            <a:r>
              <a:rPr lang="en-US" dirty="0"/>
              <a:t> </a:t>
            </a:r>
            <a:r>
              <a:rPr lang="en-US" dirty="0" err="1"/>
              <a:t>poco</a:t>
            </a:r>
            <a:r>
              <a:rPr lang="en-US" dirty="0"/>
              <a:t> </a:t>
            </a:r>
            <a:r>
              <a:rPr lang="en-US" dirty="0" err="1"/>
              <a:t>clara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existe</a:t>
            </a:r>
            <a:r>
              <a:rPr lang="en-US" dirty="0"/>
              <a:t> </a:t>
            </a:r>
            <a:r>
              <a:rPr lang="en-US" dirty="0" err="1"/>
              <a:t>periodicidad</a:t>
            </a:r>
            <a:r>
              <a:rPr lang="en-US" dirty="0"/>
              <a:t> </a:t>
            </a:r>
            <a:r>
              <a:rPr lang="en-US" dirty="0" err="1"/>
              <a:t>definida</a:t>
            </a:r>
            <a:r>
              <a:rPr lang="en-US" dirty="0"/>
              <a:t> a </a:t>
            </a:r>
            <a:r>
              <a:rPr lang="en-US" dirty="0" err="1"/>
              <a:t>nivel</a:t>
            </a:r>
            <a:r>
              <a:rPr lang="en-US" dirty="0"/>
              <a:t> central para el </a:t>
            </a:r>
            <a:r>
              <a:rPr lang="en-US" dirty="0" err="1"/>
              <a:t>ingreso</a:t>
            </a:r>
            <a:r>
              <a:rPr lang="en-US" dirty="0"/>
              <a:t> de </a:t>
            </a:r>
            <a:r>
              <a:rPr lang="en-US" dirty="0" err="1"/>
              <a:t>datos</a:t>
            </a:r>
            <a:r>
              <a:rPr lang="en-US" dirty="0"/>
              <a:t> al </a:t>
            </a:r>
            <a:r>
              <a:rPr lang="en-US" dirty="0" err="1"/>
              <a:t>registro</a:t>
            </a:r>
            <a:r>
              <a:rPr lang="en-US" dirty="0"/>
              <a:t>. </a:t>
            </a:r>
            <a:r>
              <a:rPr lang="en-US" dirty="0" err="1"/>
              <a:t>Esto</a:t>
            </a:r>
            <a:r>
              <a:rPr lang="en-US" dirty="0"/>
              <a:t> </a:t>
            </a:r>
            <a:r>
              <a:rPr lang="en-US" dirty="0" err="1"/>
              <a:t>quedaba</a:t>
            </a:r>
            <a:r>
              <a:rPr lang="en-US" dirty="0"/>
              <a:t> a </a:t>
            </a:r>
            <a:r>
              <a:rPr lang="en-US" dirty="0" err="1"/>
              <a:t>criterio</a:t>
            </a:r>
            <a:r>
              <a:rPr lang="en-US" dirty="0"/>
              <a:t> de </a:t>
            </a:r>
            <a:r>
              <a:rPr lang="en-US" dirty="0" err="1"/>
              <a:t>cada</a:t>
            </a:r>
            <a:r>
              <a:rPr lang="en-US" dirty="0"/>
              <a:t> </a:t>
            </a:r>
            <a:r>
              <a:rPr lang="en-US" dirty="0" err="1"/>
              <a:t>establecimiento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 </a:t>
            </a:r>
            <a:r>
              <a:rPr lang="en-US" dirty="0" err="1"/>
              <a:t>carga</a:t>
            </a:r>
            <a:r>
              <a:rPr lang="en-US" dirty="0"/>
              <a:t> de </a:t>
            </a:r>
            <a:r>
              <a:rPr lang="en-US" dirty="0" err="1"/>
              <a:t>datos</a:t>
            </a:r>
            <a:r>
              <a:rPr lang="en-US" dirty="0"/>
              <a:t> no </a:t>
            </a:r>
            <a:r>
              <a:rPr lang="en-US" dirty="0" err="1"/>
              <a:t>tiene</a:t>
            </a:r>
            <a:r>
              <a:rPr lang="en-US" dirty="0"/>
              <a:t> </a:t>
            </a:r>
            <a:r>
              <a:rPr lang="en-US" dirty="0" err="1"/>
              <a:t>límites</a:t>
            </a:r>
            <a:r>
              <a:rPr lang="en-US" dirty="0"/>
              <a:t> </a:t>
            </a:r>
            <a:r>
              <a:rPr lang="en-US" dirty="0" err="1"/>
              <a:t>temporales</a:t>
            </a:r>
            <a:r>
              <a:rPr lang="en-US" dirty="0"/>
              <a:t>: </a:t>
            </a:r>
            <a:r>
              <a:rPr lang="en-US" dirty="0" err="1"/>
              <a:t>permite</a:t>
            </a:r>
            <a:r>
              <a:rPr lang="en-US" dirty="0"/>
              <a:t> el </a:t>
            </a:r>
            <a:r>
              <a:rPr lang="en-US" dirty="0" err="1"/>
              <a:t>egreso</a:t>
            </a:r>
            <a:r>
              <a:rPr lang="en-US" dirty="0"/>
              <a:t> </a:t>
            </a:r>
            <a:r>
              <a:rPr lang="en-US" dirty="0" err="1"/>
              <a:t>desfasadode</a:t>
            </a:r>
            <a:r>
              <a:rPr lang="en-US" dirty="0"/>
              <a:t> la </a:t>
            </a:r>
            <a:r>
              <a:rPr lang="en-US" dirty="0" err="1"/>
              <a:t>fecha</a:t>
            </a:r>
            <a:r>
              <a:rPr lang="en-US" dirty="0"/>
              <a:t> de </a:t>
            </a:r>
            <a:r>
              <a:rPr lang="en-US" dirty="0" err="1"/>
              <a:t>solicitud</a:t>
            </a:r>
            <a:r>
              <a:rPr lang="en-US" dirty="0"/>
              <a:t> de </a:t>
            </a:r>
            <a:r>
              <a:rPr lang="en-US" dirty="0" err="1"/>
              <a:t>derivación</a:t>
            </a:r>
            <a:r>
              <a:rPr lang="en-US" dirty="0"/>
              <a:t> y de </a:t>
            </a:r>
            <a:r>
              <a:rPr lang="en-US" dirty="0" err="1"/>
              <a:t>resolución</a:t>
            </a:r>
            <a:r>
              <a:rPr lang="en-US" dirty="0"/>
              <a:t> de la </a:t>
            </a:r>
            <a:r>
              <a:rPr lang="en-US" dirty="0" err="1"/>
              <a:t>mism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25357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NLE:</a:t>
            </a:r>
          </a:p>
          <a:p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a </a:t>
            </a:r>
            <a:r>
              <a:rPr lang="en-US" dirty="0" err="1"/>
              <a:t>carga</a:t>
            </a:r>
            <a:r>
              <a:rPr lang="en-US" dirty="0"/>
              <a:t> de </a:t>
            </a:r>
            <a:r>
              <a:rPr lang="en-US" dirty="0" err="1"/>
              <a:t>datos</a:t>
            </a:r>
            <a:r>
              <a:rPr lang="en-US" dirty="0"/>
              <a:t> no </a:t>
            </a:r>
            <a:r>
              <a:rPr lang="en-US" dirty="0" err="1"/>
              <a:t>tiene</a:t>
            </a:r>
            <a:r>
              <a:rPr lang="en-US" dirty="0"/>
              <a:t> </a:t>
            </a:r>
            <a:r>
              <a:rPr lang="en-US" dirty="0" err="1"/>
              <a:t>límites</a:t>
            </a:r>
            <a:r>
              <a:rPr lang="en-US" dirty="0"/>
              <a:t> </a:t>
            </a:r>
            <a:r>
              <a:rPr lang="en-US" dirty="0" err="1"/>
              <a:t>temporales</a:t>
            </a:r>
            <a:r>
              <a:rPr lang="en-US" dirty="0"/>
              <a:t>: </a:t>
            </a:r>
            <a:r>
              <a:rPr lang="en-US" dirty="0" err="1"/>
              <a:t>permite</a:t>
            </a:r>
            <a:r>
              <a:rPr lang="en-US" dirty="0"/>
              <a:t> el </a:t>
            </a:r>
            <a:r>
              <a:rPr lang="en-US" dirty="0" err="1"/>
              <a:t>egreso</a:t>
            </a:r>
            <a:r>
              <a:rPr lang="en-US" dirty="0"/>
              <a:t> </a:t>
            </a:r>
            <a:r>
              <a:rPr lang="en-US" dirty="0" err="1"/>
              <a:t>desfasadode</a:t>
            </a:r>
            <a:r>
              <a:rPr lang="en-US" dirty="0"/>
              <a:t> la </a:t>
            </a:r>
            <a:r>
              <a:rPr lang="en-US" dirty="0" err="1"/>
              <a:t>fecha</a:t>
            </a:r>
            <a:r>
              <a:rPr lang="en-US" dirty="0"/>
              <a:t> de </a:t>
            </a:r>
            <a:r>
              <a:rPr lang="en-US" dirty="0" err="1"/>
              <a:t>solicitud</a:t>
            </a:r>
            <a:r>
              <a:rPr lang="en-US" dirty="0"/>
              <a:t> de </a:t>
            </a:r>
            <a:r>
              <a:rPr lang="en-US" dirty="0" err="1"/>
              <a:t>derivación</a:t>
            </a:r>
            <a:r>
              <a:rPr lang="en-US" dirty="0"/>
              <a:t> y de </a:t>
            </a:r>
            <a:r>
              <a:rPr lang="en-US" dirty="0" err="1"/>
              <a:t>resolución</a:t>
            </a:r>
            <a:r>
              <a:rPr lang="en-US" dirty="0"/>
              <a:t> de la </a:t>
            </a:r>
            <a:r>
              <a:rPr lang="en-US" dirty="0" err="1"/>
              <a:t>mism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sde</a:t>
            </a:r>
            <a:r>
              <a:rPr lang="en-US" dirty="0"/>
              <a:t> el </a:t>
            </a:r>
            <a:r>
              <a:rPr lang="en-US" dirty="0" err="1"/>
              <a:t>punto</a:t>
            </a:r>
            <a:r>
              <a:rPr lang="en-US" dirty="0"/>
              <a:t> de vista d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datos</a:t>
            </a:r>
            <a:r>
              <a:rPr lang="en-US" dirty="0"/>
              <a:t> </a:t>
            </a:r>
            <a:r>
              <a:rPr lang="en-US" dirty="0" err="1"/>
              <a:t>registrados</a:t>
            </a:r>
            <a:r>
              <a:rPr lang="en-US" dirty="0"/>
              <a:t>, no </a:t>
            </a:r>
            <a:r>
              <a:rPr lang="en-US" dirty="0" err="1"/>
              <a:t>existen</a:t>
            </a:r>
            <a:r>
              <a:rPr lang="en-US" dirty="0"/>
              <a:t> las </a:t>
            </a:r>
            <a:r>
              <a:rPr lang="en-US" dirty="0" err="1"/>
              <a:t>condiciones</a:t>
            </a:r>
            <a:r>
              <a:rPr lang="en-US" dirty="0"/>
              <a:t> que </a:t>
            </a:r>
            <a:r>
              <a:rPr lang="en-US" dirty="0" err="1"/>
              <a:t>permitan</a:t>
            </a:r>
            <a:r>
              <a:rPr lang="en-US" dirty="0"/>
              <a:t> </a:t>
            </a:r>
            <a:r>
              <a:rPr lang="en-US" dirty="0" err="1"/>
              <a:t>caracterizar</a:t>
            </a:r>
            <a:r>
              <a:rPr lang="en-US" dirty="0"/>
              <a:t> la LE con </a:t>
            </a:r>
            <a:r>
              <a:rPr lang="en-US" dirty="0" err="1"/>
              <a:t>criterios</a:t>
            </a:r>
            <a:r>
              <a:rPr lang="en-US" dirty="0"/>
              <a:t> </a:t>
            </a:r>
            <a:r>
              <a:rPr lang="en-US" dirty="0" err="1"/>
              <a:t>salubrista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bilidad</a:t>
            </a:r>
            <a:r>
              <a:rPr lang="en-US" dirty="0"/>
              <a:t> para </a:t>
            </a:r>
            <a:r>
              <a:rPr lang="en-US" dirty="0" err="1"/>
              <a:t>gestionar</a:t>
            </a:r>
            <a:r>
              <a:rPr lang="en-US" dirty="0"/>
              <a:t> y </a:t>
            </a:r>
            <a:r>
              <a:rPr lang="en-US" dirty="0" err="1"/>
              <a:t>monitorear</a:t>
            </a:r>
            <a:r>
              <a:rPr lang="en-US" dirty="0"/>
              <a:t> </a:t>
            </a:r>
            <a:r>
              <a:rPr lang="en-US" dirty="0" err="1"/>
              <a:t>oportunamente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perfiles</a:t>
            </a:r>
            <a:r>
              <a:rPr lang="en-US" dirty="0"/>
              <a:t> de </a:t>
            </a:r>
            <a:r>
              <a:rPr lang="en-US" dirty="0" err="1"/>
              <a:t>riesgo</a:t>
            </a:r>
            <a:r>
              <a:rPr lang="en-US" dirty="0"/>
              <a:t> de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pacientes</a:t>
            </a:r>
            <a:r>
              <a:rPr lang="en-US" dirty="0"/>
              <a:t> que </a:t>
            </a:r>
            <a:r>
              <a:rPr lang="en-US" dirty="0" err="1"/>
              <a:t>están</a:t>
            </a:r>
            <a:r>
              <a:rPr lang="en-US" dirty="0"/>
              <a:t> </a:t>
            </a:r>
            <a:r>
              <a:rPr lang="en-US" dirty="0" err="1"/>
              <a:t>demandando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</a:t>
            </a:r>
            <a:r>
              <a:rPr lang="en-US" dirty="0" err="1"/>
              <a:t>atención</a:t>
            </a:r>
            <a:r>
              <a:rPr lang="en-US" dirty="0"/>
              <a:t> de </a:t>
            </a:r>
            <a:r>
              <a:rPr lang="en-US" dirty="0" err="1"/>
              <a:t>salud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394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Dado que no </a:t>
            </a:r>
            <a:r>
              <a:rPr lang="en-US" dirty="0" err="1"/>
              <a:t>existe</a:t>
            </a:r>
            <a:r>
              <a:rPr lang="en-US" dirty="0"/>
              <a:t> </a:t>
            </a:r>
            <a:r>
              <a:rPr lang="en-US" dirty="0" err="1"/>
              <a:t>periodicidad</a:t>
            </a:r>
            <a:r>
              <a:rPr lang="en-US" dirty="0"/>
              <a:t> para </a:t>
            </a:r>
            <a:r>
              <a:rPr lang="en-US" dirty="0" err="1"/>
              <a:t>validación</a:t>
            </a:r>
            <a:r>
              <a:rPr lang="en-US" dirty="0"/>
              <a:t> de </a:t>
            </a:r>
            <a:r>
              <a:rPr lang="en-US" dirty="0" err="1"/>
              <a:t>datos</a:t>
            </a:r>
            <a:r>
              <a:rPr lang="en-US" dirty="0"/>
              <a:t>, se </a:t>
            </a:r>
            <a:r>
              <a:rPr lang="en-US" dirty="0" err="1"/>
              <a:t>generan</a:t>
            </a:r>
            <a:r>
              <a:rPr lang="en-US" dirty="0"/>
              <a:t> </a:t>
            </a:r>
            <a:r>
              <a:rPr lang="en-US" dirty="0" err="1"/>
              <a:t>problemas</a:t>
            </a:r>
            <a:r>
              <a:rPr lang="en-US" dirty="0"/>
              <a:t> de </a:t>
            </a:r>
            <a:r>
              <a:rPr lang="en-US" dirty="0" err="1"/>
              <a:t>registro</a:t>
            </a:r>
            <a:r>
              <a:rPr lang="en-US" dirty="0"/>
              <a:t>, </a:t>
            </a:r>
            <a:r>
              <a:rPr lang="en-US" dirty="0" err="1"/>
              <a:t>como</a:t>
            </a:r>
            <a:r>
              <a:rPr lang="en-US" dirty="0"/>
              <a:t>: </a:t>
            </a:r>
            <a:r>
              <a:rPr lang="en-US" dirty="0" err="1"/>
              <a:t>duplicidad</a:t>
            </a:r>
            <a:r>
              <a:rPr lang="en-US" dirty="0"/>
              <a:t> de </a:t>
            </a:r>
            <a:r>
              <a:rPr lang="en-US" dirty="0" err="1"/>
              <a:t>datos</a:t>
            </a:r>
            <a:r>
              <a:rPr lang="en-US" dirty="0"/>
              <a:t>, personas </a:t>
            </a:r>
            <a:r>
              <a:rPr lang="en-US" dirty="0" err="1"/>
              <a:t>ya</a:t>
            </a:r>
            <a:r>
              <a:rPr lang="en-US" dirty="0"/>
              <a:t> </a:t>
            </a:r>
            <a:r>
              <a:rPr lang="en-US" dirty="0" err="1"/>
              <a:t>atendidas</a:t>
            </a:r>
            <a:r>
              <a:rPr lang="en-US" dirty="0"/>
              <a:t> que </a:t>
            </a:r>
            <a:r>
              <a:rPr lang="en-US" dirty="0" err="1"/>
              <a:t>continúa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s </a:t>
            </a:r>
            <a:r>
              <a:rPr lang="en-US" dirty="0" err="1"/>
              <a:t>listas</a:t>
            </a:r>
            <a:r>
              <a:rPr lang="en-US" dirty="0"/>
              <a:t>, </a:t>
            </a:r>
            <a:r>
              <a:rPr lang="en-US" dirty="0" err="1"/>
              <a:t>etc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Sistema opera </a:t>
            </a:r>
            <a:r>
              <a:rPr lang="en-US" dirty="0" err="1"/>
              <a:t>como</a:t>
            </a:r>
            <a:r>
              <a:rPr lang="en-US" dirty="0"/>
              <a:t> un Sistema de </a:t>
            </a:r>
            <a:r>
              <a:rPr lang="en-US" dirty="0" err="1"/>
              <a:t>rendición</a:t>
            </a:r>
            <a:r>
              <a:rPr lang="en-US" dirty="0"/>
              <a:t> de </a:t>
            </a:r>
            <a:r>
              <a:rPr lang="en-US" dirty="0" err="1"/>
              <a:t>cuentas</a:t>
            </a:r>
            <a:r>
              <a:rPr lang="en-US" dirty="0"/>
              <a:t> (</a:t>
            </a:r>
            <a:r>
              <a:rPr lang="en-US" dirty="0" err="1"/>
              <a:t>Glosa</a:t>
            </a:r>
            <a:r>
              <a:rPr lang="en-US" dirty="0"/>
              <a:t> 6),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vez</a:t>
            </a:r>
            <a:r>
              <a:rPr lang="en-US" dirty="0"/>
              <a:t> de </a:t>
            </a:r>
            <a:r>
              <a:rPr lang="en-US" dirty="0" err="1"/>
              <a:t>operar</a:t>
            </a:r>
            <a:r>
              <a:rPr lang="en-US" dirty="0"/>
              <a:t> </a:t>
            </a:r>
            <a:r>
              <a:rPr lang="en-US" dirty="0" err="1"/>
              <a:t>como</a:t>
            </a:r>
            <a:r>
              <a:rPr lang="en-US" dirty="0"/>
              <a:t> Sistema de </a:t>
            </a:r>
            <a:r>
              <a:rPr lang="en-US" dirty="0" err="1"/>
              <a:t>vigilancia</a:t>
            </a:r>
            <a:r>
              <a:rPr lang="en-US" dirty="0"/>
              <a:t> que prove </a:t>
            </a:r>
            <a:r>
              <a:rPr lang="en-US" dirty="0" err="1"/>
              <a:t>información</a:t>
            </a:r>
            <a:r>
              <a:rPr lang="en-US" dirty="0"/>
              <a:t> para la </a:t>
            </a:r>
            <a:r>
              <a:rPr lang="en-US" dirty="0" err="1"/>
              <a:t>toma</a:t>
            </a:r>
            <a:r>
              <a:rPr lang="en-US" dirty="0"/>
              <a:t> de decisions </a:t>
            </a:r>
            <a:r>
              <a:rPr lang="en-US" dirty="0" err="1"/>
              <a:t>oportuna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está</a:t>
            </a:r>
            <a:r>
              <a:rPr lang="en-US" dirty="0"/>
              <a:t> </a:t>
            </a:r>
            <a:r>
              <a:rPr lang="en-US" dirty="0" err="1"/>
              <a:t>integrado</a:t>
            </a:r>
            <a:r>
              <a:rPr lang="en-US" dirty="0"/>
              <a:t> con </a:t>
            </a:r>
            <a:r>
              <a:rPr lang="en-US" dirty="0" err="1"/>
              <a:t>ningún</a:t>
            </a:r>
            <a:r>
              <a:rPr lang="en-US" dirty="0"/>
              <a:t> </a:t>
            </a:r>
            <a:r>
              <a:rPr lang="en-US" dirty="0" err="1"/>
              <a:t>otro</a:t>
            </a:r>
            <a:r>
              <a:rPr lang="en-US" dirty="0"/>
              <a:t> Sistema de </a:t>
            </a:r>
            <a:r>
              <a:rPr lang="en-US" dirty="0" err="1"/>
              <a:t>información</a:t>
            </a:r>
            <a:r>
              <a:rPr lang="en-US" dirty="0"/>
              <a:t> de </a:t>
            </a:r>
            <a:r>
              <a:rPr lang="en-US" dirty="0" err="1"/>
              <a:t>manera</a:t>
            </a:r>
            <a:r>
              <a:rPr lang="en-US" dirty="0"/>
              <a:t> </a:t>
            </a:r>
            <a:r>
              <a:rPr lang="en-US" dirty="0" err="1"/>
              <a:t>rutinaria</a:t>
            </a:r>
            <a:r>
              <a:rPr lang="en-US" dirty="0"/>
              <a:t>; </a:t>
            </a:r>
            <a:r>
              <a:rPr lang="en-US" dirty="0" err="1"/>
              <a:t>ejemplo</a:t>
            </a:r>
            <a:r>
              <a:rPr lang="en-US" dirty="0"/>
              <a:t>, GES, </a:t>
            </a:r>
            <a:r>
              <a:rPr lang="en-US" dirty="0" err="1"/>
              <a:t>estadísticas</a:t>
            </a:r>
            <a:r>
              <a:rPr lang="en-US" dirty="0"/>
              <a:t> </a:t>
            </a:r>
            <a:r>
              <a:rPr lang="en-US" dirty="0" err="1"/>
              <a:t>vitales</a:t>
            </a:r>
            <a:r>
              <a:rPr lang="en-US" dirty="0"/>
              <a:t> o </a:t>
            </a:r>
            <a:r>
              <a:rPr lang="en-US" dirty="0" err="1"/>
              <a:t>producción</a:t>
            </a:r>
            <a:r>
              <a:rPr lang="en-US" dirty="0"/>
              <a:t> de </a:t>
            </a:r>
            <a:r>
              <a:rPr lang="en-US" dirty="0" err="1"/>
              <a:t>servicio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Lo anterior </a:t>
            </a:r>
            <a:r>
              <a:rPr lang="en-US" dirty="0" err="1"/>
              <a:t>dificulta</a:t>
            </a:r>
            <a:r>
              <a:rPr lang="en-US" dirty="0"/>
              <a:t> la </a:t>
            </a:r>
            <a:r>
              <a:rPr lang="en-US" dirty="0" err="1"/>
              <a:t>gestión</a:t>
            </a:r>
            <a:r>
              <a:rPr lang="en-US" dirty="0"/>
              <a:t>. </a:t>
            </a:r>
            <a:r>
              <a:rPr lang="en-US" dirty="0" err="1"/>
              <a:t>Especialmente</a:t>
            </a:r>
            <a:r>
              <a:rPr lang="en-US" dirty="0"/>
              <a:t>, la </a:t>
            </a:r>
            <a:r>
              <a:rPr lang="en-US" dirty="0" err="1"/>
              <a:t>gestión</a:t>
            </a:r>
            <a:r>
              <a:rPr lang="en-US" dirty="0"/>
              <a:t> de </a:t>
            </a:r>
            <a:r>
              <a:rPr lang="en-US" dirty="0" err="1"/>
              <a:t>recursos</a:t>
            </a:r>
            <a:r>
              <a:rPr lang="en-US" dirty="0"/>
              <a:t> </a:t>
            </a:r>
            <a:r>
              <a:rPr lang="en-US" dirty="0" err="1"/>
              <a:t>ya</a:t>
            </a:r>
            <a:r>
              <a:rPr lang="en-US" dirty="0"/>
              <a:t> que el Sistema oblige a </a:t>
            </a:r>
            <a:r>
              <a:rPr lang="en-US" dirty="0" err="1"/>
              <a:t>ser</a:t>
            </a:r>
            <a:r>
              <a:rPr lang="en-US" dirty="0"/>
              <a:t> </a:t>
            </a:r>
            <a:r>
              <a:rPr lang="en-US" dirty="0" err="1"/>
              <a:t>reactivos</a:t>
            </a:r>
            <a:r>
              <a:rPr lang="en-US" dirty="0"/>
              <a:t>, </a:t>
            </a:r>
            <a:r>
              <a:rPr lang="en-US" dirty="0" err="1"/>
              <a:t>respondiendo</a:t>
            </a:r>
            <a:r>
              <a:rPr lang="en-US" dirty="0"/>
              <a:t> a la </a:t>
            </a:r>
            <a:r>
              <a:rPr lang="en-US" dirty="0" err="1"/>
              <a:t>demanda</a:t>
            </a:r>
            <a:r>
              <a:rPr lang="en-US" dirty="0"/>
              <a:t> a </a:t>
            </a:r>
            <a:r>
              <a:rPr lang="en-US" dirty="0" err="1"/>
              <a:t>través</a:t>
            </a:r>
            <a:r>
              <a:rPr lang="en-US" dirty="0"/>
              <a:t> de </a:t>
            </a:r>
            <a:r>
              <a:rPr lang="en-US" dirty="0" err="1"/>
              <a:t>su</a:t>
            </a:r>
            <a:r>
              <a:rPr lang="en-US" dirty="0"/>
              <a:t> </a:t>
            </a:r>
            <a:r>
              <a:rPr lang="en-US" dirty="0" err="1"/>
              <a:t>capacidad</a:t>
            </a:r>
            <a:r>
              <a:rPr lang="en-US" dirty="0"/>
              <a:t> de </a:t>
            </a:r>
            <a:r>
              <a:rPr lang="en-US" dirty="0" err="1"/>
              <a:t>absorberla</a:t>
            </a:r>
            <a:r>
              <a:rPr lang="en-US" dirty="0"/>
              <a:t> y no, de </a:t>
            </a:r>
            <a:r>
              <a:rPr lang="en-US" dirty="0" err="1"/>
              <a:t>prevenirl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3483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0556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009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090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Tributación</a:t>
            </a:r>
            <a:r>
              <a:rPr lang="en-US" dirty="0"/>
              <a:t> </a:t>
            </a:r>
            <a:r>
              <a:rPr lang="en-US" dirty="0" err="1"/>
              <a:t>desfasada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el </a:t>
            </a:r>
            <a:r>
              <a:rPr lang="en-US" dirty="0" err="1"/>
              <a:t>tiempo</a:t>
            </a:r>
            <a:r>
              <a:rPr lang="en-US" dirty="0"/>
              <a:t>: Día 20 del </a:t>
            </a:r>
            <a:r>
              <a:rPr lang="en-US" dirty="0" err="1"/>
              <a:t>mes</a:t>
            </a:r>
            <a:r>
              <a:rPr lang="en-US" dirty="0"/>
              <a:t> </a:t>
            </a:r>
            <a:r>
              <a:rPr lang="en-US" dirty="0" err="1"/>
              <a:t>siguiente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apoya</a:t>
            </a:r>
            <a:r>
              <a:rPr lang="en-US" dirty="0"/>
              <a:t> a la </a:t>
            </a:r>
            <a:r>
              <a:rPr lang="en-US" dirty="0" err="1"/>
              <a:t>operación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fomenta</a:t>
            </a:r>
            <a:r>
              <a:rPr lang="en-US" dirty="0"/>
              <a:t> la </a:t>
            </a:r>
            <a:r>
              <a:rPr lang="en-US" dirty="0" err="1"/>
              <a:t>completitud</a:t>
            </a:r>
            <a:r>
              <a:rPr lang="en-US" dirty="0"/>
              <a:t> de la 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aporta</a:t>
            </a:r>
            <a:r>
              <a:rPr lang="en-US" dirty="0"/>
              <a:t> valor a </a:t>
            </a:r>
            <a:r>
              <a:rPr lang="en-US" dirty="0" err="1"/>
              <a:t>los</a:t>
            </a:r>
            <a:r>
              <a:rPr lang="en-US" dirty="0"/>
              <a:t> SS </a:t>
            </a:r>
            <a:r>
              <a:rPr lang="en-US" dirty="0" err="1"/>
              <a:t>ni</a:t>
            </a:r>
            <a:r>
              <a:rPr lang="en-US" dirty="0"/>
              <a:t> a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hospitales</a:t>
            </a:r>
            <a:r>
              <a:rPr lang="en-US" dirty="0"/>
              <a:t>: </a:t>
            </a:r>
            <a:r>
              <a:rPr lang="en-US" dirty="0" err="1"/>
              <a:t>Información</a:t>
            </a:r>
            <a:r>
              <a:rPr lang="en-US" dirty="0"/>
              <a:t> </a:t>
            </a:r>
            <a:r>
              <a:rPr lang="en-US" dirty="0" err="1"/>
              <a:t>retrospectiva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Gestión</a:t>
            </a:r>
            <a:r>
              <a:rPr lang="en-US" dirty="0"/>
              <a:t> </a:t>
            </a:r>
            <a:r>
              <a:rPr lang="en-US" dirty="0" err="1"/>
              <a:t>termina</a:t>
            </a:r>
            <a:r>
              <a:rPr lang="en-US" dirty="0"/>
              <a:t> con la </a:t>
            </a:r>
            <a:r>
              <a:rPr lang="en-US" dirty="0" err="1"/>
              <a:t>consolidación</a:t>
            </a:r>
            <a:r>
              <a:rPr lang="en-US" dirty="0"/>
              <a:t> de </a:t>
            </a:r>
            <a:r>
              <a:rPr lang="en-US" dirty="0" err="1"/>
              <a:t>dato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MINSAL se </a:t>
            </a:r>
            <a:r>
              <a:rPr lang="en-US" dirty="0" err="1"/>
              <a:t>hace</a:t>
            </a:r>
            <a:r>
              <a:rPr lang="en-US" dirty="0"/>
              <a:t> responsible de la </a:t>
            </a:r>
            <a:r>
              <a:rPr lang="en-US" dirty="0" err="1"/>
              <a:t>información</a:t>
            </a:r>
            <a:r>
              <a:rPr lang="en-US" dirty="0"/>
              <a:t> </a:t>
            </a:r>
            <a:r>
              <a:rPr lang="en-US" dirty="0" err="1"/>
              <a:t>reportada</a:t>
            </a:r>
            <a:r>
              <a:rPr lang="en-US" dirty="0"/>
              <a:t> </a:t>
            </a:r>
            <a:r>
              <a:rPr lang="en-US" dirty="0" err="1"/>
              <a:t>por</a:t>
            </a:r>
            <a:r>
              <a:rPr lang="en-US" dirty="0"/>
              <a:t> </a:t>
            </a:r>
            <a:r>
              <a:rPr lang="en-US" dirty="0" err="1"/>
              <a:t>los</a:t>
            </a:r>
            <a:r>
              <a:rPr lang="en-US" dirty="0"/>
              <a:t> </a:t>
            </a:r>
            <a:r>
              <a:rPr lang="en-US" dirty="0" err="1"/>
              <a:t>establecimientos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CLUIR OBSERVACIONES DEL DOCUMENTO PUC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CIERRE LE Sistema RNLE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Resguarda</a:t>
            </a:r>
            <a:r>
              <a:rPr lang="en-US" dirty="0"/>
              <a:t> que </a:t>
            </a:r>
            <a:r>
              <a:rPr lang="en-US" dirty="0" err="1"/>
              <a:t>esté</a:t>
            </a:r>
            <a:r>
              <a:rPr lang="en-US" dirty="0"/>
              <a:t> </a:t>
            </a:r>
            <a:r>
              <a:rPr lang="en-US" dirty="0" err="1"/>
              <a:t>todo</a:t>
            </a:r>
            <a:r>
              <a:rPr lang="en-US" dirty="0"/>
              <a:t> </a:t>
            </a:r>
            <a:r>
              <a:rPr lang="en-US" dirty="0" err="1"/>
              <a:t>tributado</a:t>
            </a:r>
            <a:r>
              <a:rPr lang="en-US" dirty="0"/>
              <a:t> (</a:t>
            </a:r>
            <a:r>
              <a:rPr lang="en-US" dirty="0" err="1"/>
              <a:t>cifras</a:t>
            </a:r>
            <a:r>
              <a:rPr lang="en-US" dirty="0"/>
              <a:t> </a:t>
            </a:r>
            <a:r>
              <a:rPr lang="en-US" dirty="0" err="1"/>
              <a:t>históricas</a:t>
            </a:r>
            <a:r>
              <a:rPr lang="en-US" dirty="0"/>
              <a:t>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Intuitivo</a:t>
            </a:r>
            <a:r>
              <a:rPr lang="en-US" dirty="0"/>
              <a:t> – </a:t>
            </a:r>
            <a:r>
              <a:rPr lang="en-US" dirty="0" err="1"/>
              <a:t>Artesanal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sistematizado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No </a:t>
            </a:r>
            <a:r>
              <a:rPr lang="en-US" dirty="0" err="1"/>
              <a:t>formalizado</a:t>
            </a:r>
            <a:endParaRPr lang="en-US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Incluye</a:t>
            </a:r>
            <a:r>
              <a:rPr lang="en-US" dirty="0"/>
              <a:t> </a:t>
            </a:r>
            <a:r>
              <a:rPr lang="en-US" dirty="0" err="1"/>
              <a:t>trabajo</a:t>
            </a:r>
            <a:r>
              <a:rPr lang="en-US" dirty="0"/>
              <a:t> manual </a:t>
            </a:r>
            <a:r>
              <a:rPr lang="en-US" dirty="0" err="1"/>
              <a:t>sobre</a:t>
            </a:r>
            <a:r>
              <a:rPr lang="en-US" dirty="0"/>
              <a:t> la 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err="1"/>
              <a:t>Criterios</a:t>
            </a:r>
            <a:r>
              <a:rPr lang="en-US" dirty="0"/>
              <a:t> </a:t>
            </a:r>
            <a:r>
              <a:rPr lang="en-US" dirty="0" err="1"/>
              <a:t>arbitrario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102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563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43CCFD-57FD-A144-B890-2DF3B2985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B22A7A8-8061-5C47-9D8B-F71ED401A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D7E4A72-87EA-3145-9C25-2E8345FD14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993FDF-2731-F84F-9806-CCC89B5CFD70}" type="datetimeFigureOut">
              <a:rPr lang="en-US" smtClean="0"/>
              <a:t>5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F4A431-56EA-CB49-AA70-DA502FABE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3ABDBD2-D9AA-F645-9100-3D5FE464F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896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5524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5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53964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986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43CCFD-57FD-A144-B890-2DF3B2985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B22A7A8-8061-5C47-9D8B-F71ED401A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D7E4A72-87EA-3145-9C25-2E8345FD14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993FDF-2731-F84F-9806-CCC89B5CFD70}" type="datetimeFigureOut">
              <a:rPr lang="en-US" smtClean="0"/>
              <a:t>5/29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F4A431-56EA-CB49-AA70-DA502FABE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3ABDBD2-D9AA-F645-9100-3D5FE464F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093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3466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5157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5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6BE9BA05-0B29-4EDC-AC41-3BEB59306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1"/>
            <a:ext cx="969048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078380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5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41235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729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024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file:///\\localhost\Users\CDEB\Pictures\3.png" TargetMode="External"/><Relationship Id="rId3" Type="http://schemas.openxmlformats.org/officeDocument/2006/relationships/theme" Target="../theme/them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file:///\\localhost\Users\CDEB\Pictures\1.png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5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9.xml"/><Relationship Id="rId5" Type="http://schemas.openxmlformats.org/officeDocument/2006/relationships/vmlDrawing" Target="../drawings/vmlDrawing7.vml"/><Relationship Id="rId10" Type="http://schemas.openxmlformats.org/officeDocument/2006/relationships/image" Target="../media/image2.png"/><Relationship Id="rId4" Type="http://schemas.openxmlformats.org/officeDocument/2006/relationships/theme" Target="../theme/theme4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file:///\\localhost\Users\CDEB\Pictures\3.png" TargetMode="Externa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file:///\\localhost\Users\CDEB\Pictures\1.png" TargetMode="External"/><Relationship Id="rId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Diapositiva de think-cell" r:id="rId9" imgW="360" imgH="360" progId="TCLayout.ActiveDocument.1">
                  <p:embed/>
                </p:oleObj>
              </mc:Choice>
              <mc:Fallback>
                <p:oleObj name="Diapositiva de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7" y="22334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7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20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8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608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9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3333750"/>
            <a:ext cx="1377951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3333750"/>
            <a:ext cx="1974849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1" y="3452814"/>
            <a:ext cx="107103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0"/>
            <a:ext cx="1377951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0"/>
            <a:ext cx="1974849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1" y="3430589"/>
            <a:ext cx="18457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2" y="6400800"/>
            <a:ext cx="2762249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29794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78" r:id="rId2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1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6" y="22334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6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0" y="831518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7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252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9" name="Diapositiva de think-cell" r:id="rId8" imgW="360" imgH="360" progId="TCLayout.ActiveDocument.1">
                  <p:embed/>
                </p:oleObj>
              </mc:Choice>
              <mc:Fallback>
                <p:oleObj name="Diapositiva de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7" y="22334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7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20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8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7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3333750"/>
            <a:ext cx="1377951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3333750"/>
            <a:ext cx="1974849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1" y="3452814"/>
            <a:ext cx="107103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0"/>
            <a:ext cx="1377951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0"/>
            <a:ext cx="1974849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1" y="3430589"/>
            <a:ext cx="18457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2" y="6400800"/>
            <a:ext cx="2762249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47517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1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6" y="22334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6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0" y="831518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7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5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5" Type="http://schemas.openxmlformats.org/officeDocument/2006/relationships/image" Target="../media/image10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tiff"/><Relationship Id="rId26" Type="http://schemas.openxmlformats.org/officeDocument/2006/relationships/image" Target="../media/image41.tiff"/><Relationship Id="rId3" Type="http://schemas.openxmlformats.org/officeDocument/2006/relationships/image" Target="../media/image18.tiff"/><Relationship Id="rId21" Type="http://schemas.openxmlformats.org/officeDocument/2006/relationships/image" Target="../media/image36.tiff"/><Relationship Id="rId7" Type="http://schemas.openxmlformats.org/officeDocument/2006/relationships/image" Target="../media/image22.tiff"/><Relationship Id="rId12" Type="http://schemas.openxmlformats.org/officeDocument/2006/relationships/image" Target="../media/image27.tiff"/><Relationship Id="rId17" Type="http://schemas.openxmlformats.org/officeDocument/2006/relationships/image" Target="../media/image32.png"/><Relationship Id="rId25" Type="http://schemas.openxmlformats.org/officeDocument/2006/relationships/image" Target="../media/image40.tiff"/><Relationship Id="rId2" Type="http://schemas.openxmlformats.org/officeDocument/2006/relationships/image" Target="../media/image17.tiff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29" Type="http://schemas.openxmlformats.org/officeDocument/2006/relationships/image" Target="../media/image44.tif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24" Type="http://schemas.openxmlformats.org/officeDocument/2006/relationships/image" Target="../media/image39.tiff"/><Relationship Id="rId5" Type="http://schemas.openxmlformats.org/officeDocument/2006/relationships/image" Target="../media/image20.tiff"/><Relationship Id="rId15" Type="http://schemas.openxmlformats.org/officeDocument/2006/relationships/image" Target="../media/image30.png"/><Relationship Id="rId23" Type="http://schemas.openxmlformats.org/officeDocument/2006/relationships/image" Target="../media/image38.tiff"/><Relationship Id="rId28" Type="http://schemas.openxmlformats.org/officeDocument/2006/relationships/image" Target="../media/image43.tiff"/><Relationship Id="rId10" Type="http://schemas.openxmlformats.org/officeDocument/2006/relationships/image" Target="../media/image25.tiff"/><Relationship Id="rId19" Type="http://schemas.openxmlformats.org/officeDocument/2006/relationships/image" Target="../media/image34.tiff"/><Relationship Id="rId4" Type="http://schemas.openxmlformats.org/officeDocument/2006/relationships/image" Target="../media/image19.tiff"/><Relationship Id="rId9" Type="http://schemas.openxmlformats.org/officeDocument/2006/relationships/image" Target="../media/image24.tiff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tableau.minsal.cl/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xmlns="" id="{708AED80-CD44-4B7D-9360-C1519D3DB299}"/>
              </a:ext>
            </a:extLst>
          </p:cNvPr>
          <p:cNvSpPr txBox="1">
            <a:spLocks/>
          </p:cNvSpPr>
          <p:nvPr/>
        </p:nvSpPr>
        <p:spPr bwMode="auto">
          <a:xfrm>
            <a:off x="1981200" y="1600201"/>
            <a:ext cx="819770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32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Listas de Espera</a:t>
            </a: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24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Antecedentes para Comisi</a:t>
            </a:r>
            <a:r>
              <a:rPr lang="es-ES" altLang="en-US" sz="2400" b="1" dirty="0" err="1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ón</a:t>
            </a:r>
            <a:r>
              <a:rPr lang="es-ES" altLang="en-US" sz="24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 </a:t>
            </a:r>
            <a:r>
              <a:rPr lang="es-ES" altLang="en-US" sz="2400" b="1" dirty="0" smtClean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Investigadora de </a:t>
            </a:r>
            <a:r>
              <a:rPr lang="es-ES" altLang="en-US" sz="24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Salud</a:t>
            </a:r>
            <a:endParaRPr lang="es-CL" altLang="en-US" sz="2800" b="1" dirty="0">
              <a:solidFill>
                <a:srgbClr val="FFFFFF"/>
              </a:solidFill>
              <a:latin typeface="Verdana" panose="020B0604030504040204" pitchFamily="34" charset="0"/>
              <a:sym typeface="Verdana Bold" charset="0"/>
            </a:endParaRPr>
          </a:p>
        </p:txBody>
      </p:sp>
      <p:sp>
        <p:nvSpPr>
          <p:cNvPr id="17411" name="Subtitle 2">
            <a:extLst>
              <a:ext uri="{FF2B5EF4-FFF2-40B4-BE49-F238E27FC236}">
                <a16:creationId xmlns:a16="http://schemas.microsoft.com/office/drawing/2014/main" xmlns="" id="{88F835D9-4277-48A6-8708-E05534943F63}"/>
              </a:ext>
            </a:extLst>
          </p:cNvPr>
          <p:cNvSpPr txBox="1">
            <a:spLocks/>
          </p:cNvSpPr>
          <p:nvPr/>
        </p:nvSpPr>
        <p:spPr bwMode="auto">
          <a:xfrm>
            <a:off x="1981200" y="266700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r>
              <a:rPr lang="es-CL" altLang="en-US" sz="200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" panose="020B0604030504040204" pitchFamily="34" charset="0"/>
              </a:rPr>
              <a:t>Emilio Santelices / Mayo 2018</a:t>
            </a:r>
          </a:p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s-CL" altLang="en-US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074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762CB5F-05CA-7048-804A-A2DCF49F7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530" y="232903"/>
            <a:ext cx="10515600" cy="563343"/>
          </a:xfrm>
        </p:spPr>
        <p:txBody>
          <a:bodyPr>
            <a:noAutofit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uevo Sistema de </a:t>
            </a:r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formación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y </a:t>
            </a:r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estión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empos</a:t>
            </a:r>
            <a:r>
              <a:rPr lang="en-US" sz="2800" b="1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2800" b="1" dirty="0" err="1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pera</a:t>
            </a:r>
            <a:endParaRPr lang="en-US" sz="2800" b="1" dirty="0">
              <a:solidFill>
                <a:schemeClr val="accent1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5" name="Content Placeholder 4">
            <a:extLst>
              <a:ext uri="{FF2B5EF4-FFF2-40B4-BE49-F238E27FC236}">
                <a16:creationId xmlns:a16="http://schemas.microsoft.com/office/drawing/2014/main" xmlns="" id="{8D915D49-8473-4E48-AFEC-989B730ED0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1100229" y="2011040"/>
            <a:ext cx="627461" cy="627461"/>
          </a:xfrm>
          <a:prstGeom prst="rect">
            <a:avLst/>
          </a:prstGeom>
        </p:spPr>
      </p:pic>
      <p:graphicFrame>
        <p:nvGraphicFramePr>
          <p:cNvPr id="56" name="Table 5">
            <a:extLst>
              <a:ext uri="{FF2B5EF4-FFF2-40B4-BE49-F238E27FC236}">
                <a16:creationId xmlns:a16="http://schemas.microsoft.com/office/drawing/2014/main" xmlns="" id="{EDBD6C5C-06E8-4969-97D1-7BFE188C7C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757393"/>
              </p:ext>
            </p:extLst>
          </p:nvPr>
        </p:nvGraphicFramePr>
        <p:xfrm>
          <a:off x="282017" y="1001299"/>
          <a:ext cx="10854294" cy="370840"/>
        </p:xfrm>
        <a:graphic>
          <a:graphicData uri="http://schemas.openxmlformats.org/drawingml/2006/table">
            <a:tbl>
              <a:tblPr firstRow="1" bandRow="1"/>
              <a:tblGrid>
                <a:gridCol w="1891557">
                  <a:extLst>
                    <a:ext uri="{9D8B030D-6E8A-4147-A177-3AD203B41FA5}">
                      <a16:colId xmlns:a16="http://schemas.microsoft.com/office/drawing/2014/main" xmlns="" val="3131961912"/>
                    </a:ext>
                  </a:extLst>
                </a:gridCol>
                <a:gridCol w="4599511">
                  <a:extLst>
                    <a:ext uri="{9D8B030D-6E8A-4147-A177-3AD203B41FA5}">
                      <a16:colId xmlns:a16="http://schemas.microsoft.com/office/drawing/2014/main" xmlns="" val="3878900160"/>
                    </a:ext>
                  </a:extLst>
                </a:gridCol>
                <a:gridCol w="4363226">
                  <a:extLst>
                    <a:ext uri="{9D8B030D-6E8A-4147-A177-3AD203B41FA5}">
                      <a16:colId xmlns:a16="http://schemas.microsoft.com/office/drawing/2014/main" xmlns="" val="1967534271"/>
                    </a:ext>
                  </a:extLst>
                </a:gridCol>
              </a:tblGrid>
              <a:tr h="370840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STABLECIMIENTOS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INSAL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RVICIOS DE SALUD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0706"/>
                  </a:ext>
                </a:extLst>
              </a:tr>
            </a:tbl>
          </a:graphicData>
        </a:graphic>
      </p:graphicFrame>
      <p:graphicFrame>
        <p:nvGraphicFramePr>
          <p:cNvPr id="57" name="Table 10">
            <a:extLst>
              <a:ext uri="{FF2B5EF4-FFF2-40B4-BE49-F238E27FC236}">
                <a16:creationId xmlns:a16="http://schemas.microsoft.com/office/drawing/2014/main" xmlns="" id="{E6EB887A-992F-4DBD-B4A9-6DD9DC54D7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75538"/>
              </p:ext>
            </p:extLst>
          </p:nvPr>
        </p:nvGraphicFramePr>
        <p:xfrm>
          <a:off x="282015" y="5730690"/>
          <a:ext cx="10854296" cy="82296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FFC000">
                        <a:satMod val="103000"/>
                        <a:lumMod val="102000"/>
                        <a:tint val="94000"/>
                      </a:srgbClr>
                    </a:gs>
                    <a:gs pos="50000">
                      <a:srgbClr val="FFC000">
                        <a:satMod val="110000"/>
                        <a:lumMod val="100000"/>
                        <a:shade val="100000"/>
                      </a:srgbClr>
                    </a:gs>
                    <a:gs pos="100000">
                      <a:srgbClr val="FFC000">
                        <a:lumMod val="99000"/>
                        <a:satMod val="120000"/>
                        <a:shade val="78000"/>
                      </a:srgbClr>
                    </a:gs>
                  </a:gsLst>
                  <a:lin ang="5400000" scaled="0"/>
                </a:gradFill>
                <a:effectLst>
                  <a:outerShdw blurRad="57150" dist="19050" dir="5400000" algn="ctr" rotWithShape="0">
                    <a:srgbClr val="000000">
                      <a:alpha val="63000"/>
                    </a:srgbClr>
                  </a:outerShdw>
                </a:effectLst>
              </a:tblPr>
              <a:tblGrid>
                <a:gridCol w="1679917">
                  <a:extLst>
                    <a:ext uri="{9D8B030D-6E8A-4147-A177-3AD203B41FA5}">
                      <a16:colId xmlns:a16="http://schemas.microsoft.com/office/drawing/2014/main" xmlns="" val="3131961912"/>
                    </a:ext>
                  </a:extLst>
                </a:gridCol>
                <a:gridCol w="4881492">
                  <a:extLst>
                    <a:ext uri="{9D8B030D-6E8A-4147-A177-3AD203B41FA5}">
                      <a16:colId xmlns:a16="http://schemas.microsoft.com/office/drawing/2014/main" xmlns="" val="3878900160"/>
                    </a:ext>
                  </a:extLst>
                </a:gridCol>
                <a:gridCol w="4292887">
                  <a:extLst>
                    <a:ext uri="{9D8B030D-6E8A-4147-A177-3AD203B41FA5}">
                      <a16:colId xmlns:a16="http://schemas.microsoft.com/office/drawing/2014/main" xmlns="" val="1967534271"/>
                    </a:ext>
                  </a:extLst>
                </a:gridCol>
              </a:tblGrid>
              <a:tr h="451562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greso</a:t>
                      </a:r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 </a:t>
                      </a:r>
                      <a:r>
                        <a:rPr lang="en-U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atos</a:t>
                      </a:r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y </a:t>
                      </a:r>
                      <a:r>
                        <a:rPr lang="en-U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so</a:t>
                      </a:r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 LE para la </a:t>
                      </a:r>
                      <a:r>
                        <a:rPr lang="en-U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tenci</a:t>
                      </a:r>
                      <a:r>
                        <a:rPr lang="es-E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ón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FFC000">
                          <a:tint val="50000"/>
                        </a:srgbClr>
                      </a:solidFill>
                      <a:prstDash val="solid"/>
                      <a:miter lim="800000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C000">
                          <a:tint val="50000"/>
                        </a:srgbClr>
                      </a:solidFill>
                      <a:prstDash val="solid"/>
                      <a:miter lim="800000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s-E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dentificación de</a:t>
                      </a:r>
                      <a:r>
                        <a:rPr lang="es-E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oportunidades para gestionar las LE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C000">
                          <a:tint val="50000"/>
                        </a:srgbClr>
                      </a:solidFill>
                      <a:prstDash val="solid"/>
                      <a:miter lim="800000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Uso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formaci</a:t>
                      </a:r>
                      <a:r>
                        <a:rPr lang="es-E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ón</a:t>
                      </a:r>
                      <a:r>
                        <a:rPr lang="es-E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actualizada para gestionar la atención en red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C000">
                          <a:tint val="50000"/>
                        </a:srgbClr>
                      </a:solidFill>
                      <a:prstDash val="solid"/>
                      <a:miter lim="800000"/>
                    </a:lnR>
                    <a:lnT w="6350" cap="flat" cmpd="sng" algn="ctr">
                      <a:solidFill>
                        <a:srgbClr val="FFC000">
                          <a:tint val="50000"/>
                        </a:srgbClr>
                      </a:solidFill>
                      <a:prstDash val="solid"/>
                      <a:miter lim="800000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0706"/>
                  </a:ext>
                </a:extLst>
              </a:tr>
            </a:tbl>
          </a:graphicData>
        </a:graphic>
      </p:graphicFrame>
      <p:pic>
        <p:nvPicPr>
          <p:cNvPr id="58" name="Picture 28">
            <a:extLst>
              <a:ext uri="{FF2B5EF4-FFF2-40B4-BE49-F238E27FC236}">
                <a16:creationId xmlns:a16="http://schemas.microsoft.com/office/drawing/2014/main" xmlns="" id="{E0EB6611-9F85-4E63-8C7D-52A0D67DBB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5159" y="1934437"/>
            <a:ext cx="1599222" cy="1599222"/>
          </a:xfrm>
          <a:prstGeom prst="rect">
            <a:avLst/>
          </a:prstGeom>
        </p:spPr>
      </p:pic>
      <p:pic>
        <p:nvPicPr>
          <p:cNvPr id="59" name="Picture 31">
            <a:extLst>
              <a:ext uri="{FF2B5EF4-FFF2-40B4-BE49-F238E27FC236}">
                <a16:creationId xmlns:a16="http://schemas.microsoft.com/office/drawing/2014/main" xmlns="" id="{A8551D20-2227-4A96-BA85-7B180C4937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5688" y="1704670"/>
            <a:ext cx="1854293" cy="1854293"/>
          </a:xfrm>
          <a:prstGeom prst="rect">
            <a:avLst/>
          </a:prstGeom>
        </p:spPr>
      </p:pic>
      <p:pic>
        <p:nvPicPr>
          <p:cNvPr id="60" name="Content Placeholder 4">
            <a:extLst>
              <a:ext uri="{FF2B5EF4-FFF2-40B4-BE49-F238E27FC236}">
                <a16:creationId xmlns:a16="http://schemas.microsoft.com/office/drawing/2014/main" xmlns="" id="{660071F2-77E4-4B1F-BFDE-E08B0F651C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342760" y="1897948"/>
            <a:ext cx="627461" cy="627461"/>
          </a:xfrm>
          <a:prstGeom prst="rect">
            <a:avLst/>
          </a:prstGeom>
        </p:spPr>
      </p:pic>
      <p:pic>
        <p:nvPicPr>
          <p:cNvPr id="61" name="Content Placeholder 4">
            <a:extLst>
              <a:ext uri="{FF2B5EF4-FFF2-40B4-BE49-F238E27FC236}">
                <a16:creationId xmlns:a16="http://schemas.microsoft.com/office/drawing/2014/main" xmlns="" id="{CC80A61C-4D76-42B2-8FEC-2759179E00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342759" y="2431560"/>
            <a:ext cx="627461" cy="627461"/>
          </a:xfrm>
          <a:prstGeom prst="rect">
            <a:avLst/>
          </a:prstGeom>
        </p:spPr>
      </p:pic>
      <p:pic>
        <p:nvPicPr>
          <p:cNvPr id="62" name="Content Placeholder 4">
            <a:extLst>
              <a:ext uri="{FF2B5EF4-FFF2-40B4-BE49-F238E27FC236}">
                <a16:creationId xmlns:a16="http://schemas.microsoft.com/office/drawing/2014/main" xmlns="" id="{1C610105-8466-4E66-AE88-022E424DAD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331310" y="2988776"/>
            <a:ext cx="627461" cy="627461"/>
          </a:xfrm>
          <a:prstGeom prst="rect">
            <a:avLst/>
          </a:prstGeom>
        </p:spPr>
      </p:pic>
      <p:pic>
        <p:nvPicPr>
          <p:cNvPr id="63" name="Content Placeholder 4">
            <a:extLst>
              <a:ext uri="{FF2B5EF4-FFF2-40B4-BE49-F238E27FC236}">
                <a16:creationId xmlns:a16="http://schemas.microsoft.com/office/drawing/2014/main" xmlns="" id="{CF3653DE-6A53-499C-8115-8A8EAC934E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1099277" y="2645188"/>
            <a:ext cx="627461" cy="627461"/>
          </a:xfrm>
          <a:prstGeom prst="rect">
            <a:avLst/>
          </a:prstGeom>
        </p:spPr>
      </p:pic>
      <p:graphicFrame>
        <p:nvGraphicFramePr>
          <p:cNvPr id="64" name="Table 83">
            <a:extLst>
              <a:ext uri="{FF2B5EF4-FFF2-40B4-BE49-F238E27FC236}">
                <a16:creationId xmlns:a16="http://schemas.microsoft.com/office/drawing/2014/main" xmlns="" id="{883ABB08-2C82-43E2-931F-7845F31226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9600918"/>
              </p:ext>
            </p:extLst>
          </p:nvPr>
        </p:nvGraphicFramePr>
        <p:xfrm>
          <a:off x="282016" y="4785475"/>
          <a:ext cx="10854294" cy="782257"/>
        </p:xfrm>
        <a:graphic>
          <a:graphicData uri="http://schemas.openxmlformats.org/drawingml/2006/table">
            <a:tbl>
              <a:tblPr firstRow="1" bandRow="1"/>
              <a:tblGrid>
                <a:gridCol w="1693986">
                  <a:extLst>
                    <a:ext uri="{9D8B030D-6E8A-4147-A177-3AD203B41FA5}">
                      <a16:colId xmlns:a16="http://schemas.microsoft.com/office/drawing/2014/main" xmlns="" val="3382405125"/>
                    </a:ext>
                  </a:extLst>
                </a:gridCol>
                <a:gridCol w="4881489">
                  <a:extLst>
                    <a:ext uri="{9D8B030D-6E8A-4147-A177-3AD203B41FA5}">
                      <a16:colId xmlns:a16="http://schemas.microsoft.com/office/drawing/2014/main" xmlns="" val="967357668"/>
                    </a:ext>
                  </a:extLst>
                </a:gridCol>
                <a:gridCol w="4278819">
                  <a:extLst>
                    <a:ext uri="{9D8B030D-6E8A-4147-A177-3AD203B41FA5}">
                      <a16:colId xmlns:a16="http://schemas.microsoft.com/office/drawing/2014/main" xmlns="" val="17701439"/>
                    </a:ext>
                  </a:extLst>
                </a:gridCol>
              </a:tblGrid>
              <a:tr h="782257"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>
                      <a:lvl1pPr marL="0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66481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32962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99443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65925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332406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98887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65368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731849" algn="l" defTabSz="932962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endParaRPr lang="en-US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45964296"/>
                  </a:ext>
                </a:extLst>
              </a:tr>
            </a:tbl>
          </a:graphicData>
        </a:graphic>
      </p:graphicFrame>
      <p:sp>
        <p:nvSpPr>
          <p:cNvPr id="65" name="Left-Right Arrow 84">
            <a:extLst>
              <a:ext uri="{FF2B5EF4-FFF2-40B4-BE49-F238E27FC236}">
                <a16:creationId xmlns:a16="http://schemas.microsoft.com/office/drawing/2014/main" xmlns="" id="{E18DEB4C-9CC4-46DA-8D24-E14894E645EF}"/>
              </a:ext>
            </a:extLst>
          </p:cNvPr>
          <p:cNvSpPr/>
          <p:nvPr/>
        </p:nvSpPr>
        <p:spPr>
          <a:xfrm>
            <a:off x="282015" y="3981677"/>
            <a:ext cx="10854294" cy="702866"/>
          </a:xfrm>
          <a:prstGeom prst="leftRightArrow">
            <a:avLst/>
          </a:prstGeom>
          <a:solidFill>
            <a:srgbClr val="92D050"/>
          </a:solidFill>
          <a:ln w="12700" cap="flat" cmpd="sng" algn="ctr">
            <a:solidFill>
              <a:srgbClr val="92D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ÁLISIS CON INFORMACIÓN ACTUALIZADA DIARIAMENTE</a:t>
            </a:r>
          </a:p>
        </p:txBody>
      </p:sp>
      <p:cxnSp>
        <p:nvCxnSpPr>
          <p:cNvPr id="66" name="Elbow Connector 95">
            <a:extLst>
              <a:ext uri="{FF2B5EF4-FFF2-40B4-BE49-F238E27FC236}">
                <a16:creationId xmlns:a16="http://schemas.microsoft.com/office/drawing/2014/main" xmlns="" id="{D2323E0F-C82B-48CE-826C-08EDE36654BD}"/>
              </a:ext>
            </a:extLst>
          </p:cNvPr>
          <p:cNvCxnSpPr>
            <a:stCxn id="55" idx="3"/>
            <a:endCxn id="58" idx="1"/>
          </p:cNvCxnSpPr>
          <p:nvPr/>
        </p:nvCxnSpPr>
        <p:spPr>
          <a:xfrm>
            <a:off x="1727690" y="2324771"/>
            <a:ext cx="1897469" cy="409277"/>
          </a:xfrm>
          <a:prstGeom prst="bentConnector3">
            <a:avLst/>
          </a:prstGeom>
          <a:noFill/>
          <a:ln w="31750" cap="flat" cmpd="sng" algn="ctr">
            <a:solidFill>
              <a:srgbClr val="00B0F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Elbow Connector 97">
            <a:extLst>
              <a:ext uri="{FF2B5EF4-FFF2-40B4-BE49-F238E27FC236}">
                <a16:creationId xmlns:a16="http://schemas.microsoft.com/office/drawing/2014/main" xmlns="" id="{6EC31297-47B5-42EB-AD83-3E9B83D6C679}"/>
              </a:ext>
            </a:extLst>
          </p:cNvPr>
          <p:cNvCxnSpPr>
            <a:stCxn id="63" idx="3"/>
            <a:endCxn id="58" idx="1"/>
          </p:cNvCxnSpPr>
          <p:nvPr/>
        </p:nvCxnSpPr>
        <p:spPr>
          <a:xfrm flipV="1">
            <a:off x="1726738" y="2734048"/>
            <a:ext cx="1898421" cy="224871"/>
          </a:xfrm>
          <a:prstGeom prst="bentConnector3">
            <a:avLst/>
          </a:prstGeom>
          <a:noFill/>
          <a:ln w="31750" cap="flat" cmpd="sng" algn="ctr">
            <a:solidFill>
              <a:srgbClr val="00B0F0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68" name="Picture 111">
            <a:extLst>
              <a:ext uri="{FF2B5EF4-FFF2-40B4-BE49-F238E27FC236}">
                <a16:creationId xmlns:a16="http://schemas.microsoft.com/office/drawing/2014/main" xmlns="" id="{AE803CCC-9F27-47D1-90EA-E693A310949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6489" y="4606738"/>
            <a:ext cx="991095" cy="886489"/>
          </a:xfrm>
          <a:prstGeom prst="rect">
            <a:avLst/>
          </a:prstGeom>
        </p:spPr>
      </p:pic>
      <p:pic>
        <p:nvPicPr>
          <p:cNvPr id="69" name="Picture 112">
            <a:extLst>
              <a:ext uri="{FF2B5EF4-FFF2-40B4-BE49-F238E27FC236}">
                <a16:creationId xmlns:a16="http://schemas.microsoft.com/office/drawing/2014/main" xmlns="" id="{FFE1FA27-911E-4E79-A505-EE2A0C883E4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33689" y="4606738"/>
            <a:ext cx="991095" cy="886489"/>
          </a:xfrm>
          <a:prstGeom prst="rect">
            <a:avLst/>
          </a:prstGeom>
        </p:spPr>
      </p:pic>
      <p:pic>
        <p:nvPicPr>
          <p:cNvPr id="70" name="Picture 113">
            <a:extLst>
              <a:ext uri="{FF2B5EF4-FFF2-40B4-BE49-F238E27FC236}">
                <a16:creationId xmlns:a16="http://schemas.microsoft.com/office/drawing/2014/main" xmlns="" id="{D8D99F8D-FD1E-4649-9B99-7B6F09F3D5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96002" y="4606738"/>
            <a:ext cx="991095" cy="88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046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mponentes del Nuevo Sistema de Listas de Espera</a:t>
            </a:r>
          </a:p>
        </p:txBody>
      </p:sp>
      <p:grpSp>
        <p:nvGrpSpPr>
          <p:cNvPr id="105" name="Group 104"/>
          <p:cNvGrpSpPr/>
          <p:nvPr/>
        </p:nvGrpSpPr>
        <p:grpSpPr>
          <a:xfrm>
            <a:off x="1710775" y="1898859"/>
            <a:ext cx="7792580" cy="649459"/>
            <a:chOff x="137085" y="1917053"/>
            <a:chExt cx="7792580" cy="649459"/>
          </a:xfrm>
        </p:grpSpPr>
        <p:sp>
          <p:nvSpPr>
            <p:cNvPr id="106" name="Rounded Rectangle 105"/>
            <p:cNvSpPr/>
            <p:nvPr/>
          </p:nvSpPr>
          <p:spPr>
            <a:xfrm>
              <a:off x="1897793" y="1917053"/>
              <a:ext cx="6031872" cy="649459"/>
            </a:xfrm>
            <a:prstGeom prst="roundRect">
              <a:avLst/>
            </a:prstGeom>
            <a:no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chemeClr val="accent5"/>
                </a:solidFill>
              </a:endParaRP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37085" y="2055377"/>
              <a:ext cx="167385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b="1" dirty="0">
                  <a:solidFill>
                    <a:schemeClr val="accent5"/>
                  </a:solidFill>
                </a:rPr>
                <a:t>Informes de Gestión</a:t>
              </a:r>
            </a:p>
            <a:p>
              <a:r>
                <a:rPr lang="es-ES" sz="1200" b="1" dirty="0">
                  <a:solidFill>
                    <a:schemeClr val="accent5"/>
                  </a:solidFill>
                </a:rPr>
                <a:t>BI</a:t>
              </a:r>
            </a:p>
          </p:txBody>
        </p:sp>
        <p:pic>
          <p:nvPicPr>
            <p:cNvPr id="108" name="Picture 65">
              <a:extLst>
                <a:ext uri="{FF2B5EF4-FFF2-40B4-BE49-F238E27FC236}">
                  <a16:creationId xmlns:a16="http://schemas.microsoft.com/office/drawing/2014/main" xmlns="" id="{E54D93BE-5987-4821-9B5D-A66250ED08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26300" y="2039337"/>
              <a:ext cx="542188" cy="435608"/>
            </a:xfrm>
            <a:prstGeom prst="rect">
              <a:avLst/>
            </a:prstGeom>
          </p:spPr>
        </p:pic>
        <p:pic>
          <p:nvPicPr>
            <p:cNvPr id="109" name="Picture 66">
              <a:extLst>
                <a:ext uri="{FF2B5EF4-FFF2-40B4-BE49-F238E27FC236}">
                  <a16:creationId xmlns:a16="http://schemas.microsoft.com/office/drawing/2014/main" xmlns="" id="{5E768F8B-CF47-4D31-8582-C14004D0C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587606" y="2091549"/>
              <a:ext cx="482306" cy="359631"/>
            </a:xfrm>
            <a:prstGeom prst="rect">
              <a:avLst/>
            </a:prstGeom>
          </p:spPr>
        </p:pic>
        <p:pic>
          <p:nvPicPr>
            <p:cNvPr id="110" name="Picture 67">
              <a:extLst>
                <a:ext uri="{FF2B5EF4-FFF2-40B4-BE49-F238E27FC236}">
                  <a16:creationId xmlns:a16="http://schemas.microsoft.com/office/drawing/2014/main" xmlns="" id="{149B1357-0663-4B2B-B13E-F3B5F5A3F5E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59682" y="2054914"/>
              <a:ext cx="654334" cy="432900"/>
            </a:xfrm>
            <a:prstGeom prst="rect">
              <a:avLst/>
            </a:prstGeom>
          </p:spPr>
        </p:pic>
        <p:pic>
          <p:nvPicPr>
            <p:cNvPr id="111" name="Picture 68">
              <a:extLst>
                <a:ext uri="{FF2B5EF4-FFF2-40B4-BE49-F238E27FC236}">
                  <a16:creationId xmlns:a16="http://schemas.microsoft.com/office/drawing/2014/main" xmlns="" id="{362C79E5-D4AD-4D1E-9E05-1E876338580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48274" y="2022565"/>
              <a:ext cx="535100" cy="469152"/>
            </a:xfrm>
            <a:prstGeom prst="rect">
              <a:avLst/>
            </a:prstGeom>
          </p:spPr>
        </p:pic>
        <p:pic>
          <p:nvPicPr>
            <p:cNvPr id="112" name="Picture 11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277179" y="2067316"/>
              <a:ext cx="694866" cy="381437"/>
            </a:xfrm>
            <a:prstGeom prst="rect">
              <a:avLst/>
            </a:prstGeom>
          </p:spPr>
        </p:pic>
        <p:pic>
          <p:nvPicPr>
            <p:cNvPr id="113" name="Picture 11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885476" y="2031238"/>
              <a:ext cx="503821" cy="433036"/>
            </a:xfrm>
            <a:prstGeom prst="rect">
              <a:avLst/>
            </a:prstGeom>
          </p:spPr>
        </p:pic>
        <p:pic>
          <p:nvPicPr>
            <p:cNvPr id="114" name="Picture 11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22370" y="1978258"/>
              <a:ext cx="305193" cy="557767"/>
            </a:xfrm>
            <a:prstGeom prst="rect">
              <a:avLst/>
            </a:prstGeom>
          </p:spPr>
        </p:pic>
        <p:pic>
          <p:nvPicPr>
            <p:cNvPr id="115" name="Picture 11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078914" y="2111678"/>
              <a:ext cx="424751" cy="380040"/>
            </a:xfrm>
            <a:prstGeom prst="rect">
              <a:avLst/>
            </a:prstGeom>
          </p:spPr>
        </p:pic>
      </p:grpSp>
      <p:grpSp>
        <p:nvGrpSpPr>
          <p:cNvPr id="136" name="Grupo 4">
            <a:extLst>
              <a:ext uri="{FF2B5EF4-FFF2-40B4-BE49-F238E27FC236}">
                <a16:creationId xmlns:a16="http://schemas.microsoft.com/office/drawing/2014/main" xmlns="" id="{55D3E5A5-2B7E-4C82-A68A-3828A25B5486}"/>
              </a:ext>
            </a:extLst>
          </p:cNvPr>
          <p:cNvGrpSpPr/>
          <p:nvPr/>
        </p:nvGrpSpPr>
        <p:grpSpPr>
          <a:xfrm>
            <a:off x="1573175" y="4640978"/>
            <a:ext cx="5653820" cy="649459"/>
            <a:chOff x="67214" y="2677972"/>
            <a:chExt cx="5653820" cy="649459"/>
          </a:xfrm>
        </p:grpSpPr>
        <p:grpSp>
          <p:nvGrpSpPr>
            <p:cNvPr id="137" name="Group 136"/>
            <p:cNvGrpSpPr/>
            <p:nvPr/>
          </p:nvGrpSpPr>
          <p:grpSpPr>
            <a:xfrm>
              <a:off x="67214" y="2677972"/>
              <a:ext cx="5653820" cy="649459"/>
              <a:chOff x="67214" y="2677972"/>
              <a:chExt cx="5653820" cy="649459"/>
            </a:xfrm>
          </p:grpSpPr>
          <p:sp>
            <p:nvSpPr>
              <p:cNvPr id="139" name="Rounded Rectangle 138"/>
              <p:cNvSpPr/>
              <p:nvPr/>
            </p:nvSpPr>
            <p:spPr>
              <a:xfrm>
                <a:off x="1890363" y="2677972"/>
                <a:ext cx="3830671" cy="649459"/>
              </a:xfrm>
              <a:prstGeom prst="roundRect">
                <a:avLst/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>
                  <a:solidFill>
                    <a:schemeClr val="accent5"/>
                  </a:solidFill>
                </a:endParaRPr>
              </a:p>
            </p:txBody>
          </p:sp>
          <p:sp>
            <p:nvSpPr>
              <p:cNvPr id="140" name="TextBox 139"/>
              <p:cNvSpPr txBox="1"/>
              <p:nvPr/>
            </p:nvSpPr>
            <p:spPr>
              <a:xfrm>
                <a:off x="67214" y="2766613"/>
                <a:ext cx="1555234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1200" b="1" dirty="0">
                    <a:solidFill>
                      <a:schemeClr val="accent5"/>
                    </a:solidFill>
                  </a:rPr>
                  <a:t>Lógica de Negocio</a:t>
                </a:r>
              </a:p>
              <a:p>
                <a:r>
                  <a:rPr lang="es-ES" sz="1200" b="1" dirty="0">
                    <a:solidFill>
                      <a:schemeClr val="accent5"/>
                    </a:solidFill>
                  </a:rPr>
                  <a:t>Validaciones</a:t>
                </a:r>
              </a:p>
            </p:txBody>
          </p:sp>
          <p:pic>
            <p:nvPicPr>
              <p:cNvPr id="141" name="Picture 140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2159513" y="2827038"/>
                <a:ext cx="563076" cy="374701"/>
              </a:xfrm>
              <a:prstGeom prst="rect">
                <a:avLst/>
              </a:prstGeom>
            </p:spPr>
          </p:pic>
          <p:pic>
            <p:nvPicPr>
              <p:cNvPr id="143" name="Picture 142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707718" y="2826490"/>
                <a:ext cx="563076" cy="374701"/>
              </a:xfrm>
              <a:prstGeom prst="rect">
                <a:avLst/>
              </a:prstGeom>
            </p:spPr>
          </p:pic>
          <p:pic>
            <p:nvPicPr>
              <p:cNvPr id="144" name="Picture 143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4890098" y="2805332"/>
                <a:ext cx="563076" cy="374701"/>
              </a:xfrm>
              <a:prstGeom prst="rect">
                <a:avLst/>
              </a:prstGeom>
              <a:effectLst>
                <a:glow>
                  <a:schemeClr val="accent1"/>
                </a:glow>
              </a:effectLst>
            </p:spPr>
          </p:pic>
          <p:sp>
            <p:nvSpPr>
              <p:cNvPr id="145" name="TextBox 144"/>
              <p:cNvSpPr txBox="1"/>
              <p:nvPr/>
            </p:nvSpPr>
            <p:spPr>
              <a:xfrm>
                <a:off x="2694029" y="2814064"/>
                <a:ext cx="598241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800" dirty="0">
                    <a:solidFill>
                      <a:schemeClr val="accent5"/>
                    </a:solidFill>
                  </a:rPr>
                  <a:t>De datos</a:t>
                </a:r>
              </a:p>
            </p:txBody>
          </p:sp>
        </p:grpSp>
        <p:sp>
          <p:nvSpPr>
            <p:cNvPr id="138" name="TextBox 91">
              <a:extLst>
                <a:ext uri="{FF2B5EF4-FFF2-40B4-BE49-F238E27FC236}">
                  <a16:creationId xmlns:a16="http://schemas.microsoft.com/office/drawing/2014/main" xmlns="" id="{96B90F5B-1B79-455D-96B1-44D394C8207D}"/>
                </a:ext>
              </a:extLst>
            </p:cNvPr>
            <p:cNvSpPr txBox="1"/>
            <p:nvPr/>
          </p:nvSpPr>
          <p:spPr>
            <a:xfrm>
              <a:off x="4213713" y="2864134"/>
              <a:ext cx="572593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800" dirty="0" err="1">
                  <a:solidFill>
                    <a:schemeClr val="accent5"/>
                  </a:solidFill>
                </a:rPr>
                <a:t>Clinicas</a:t>
              </a:r>
              <a:r>
                <a:rPr lang="es-ES_tradnl" sz="800" dirty="0">
                  <a:solidFill>
                    <a:schemeClr val="accent5"/>
                  </a:solidFill>
                </a:rPr>
                <a:t> </a:t>
              </a:r>
            </a:p>
          </p:txBody>
        </p:sp>
      </p:grpSp>
      <p:grpSp>
        <p:nvGrpSpPr>
          <p:cNvPr id="175" name="Group 174"/>
          <p:cNvGrpSpPr/>
          <p:nvPr/>
        </p:nvGrpSpPr>
        <p:grpSpPr>
          <a:xfrm>
            <a:off x="1684282" y="2615959"/>
            <a:ext cx="7828157" cy="649459"/>
            <a:chOff x="1684282" y="2615959"/>
            <a:chExt cx="7828157" cy="649459"/>
          </a:xfrm>
        </p:grpSpPr>
        <p:grpSp>
          <p:nvGrpSpPr>
            <p:cNvPr id="126" name="Group 125"/>
            <p:cNvGrpSpPr/>
            <p:nvPr/>
          </p:nvGrpSpPr>
          <p:grpSpPr>
            <a:xfrm>
              <a:off x="1684282" y="2615959"/>
              <a:ext cx="7828157" cy="649459"/>
              <a:chOff x="94078" y="4868715"/>
              <a:chExt cx="7828157" cy="649459"/>
            </a:xfrm>
          </p:grpSpPr>
          <p:sp>
            <p:nvSpPr>
              <p:cNvPr id="127" name="Rounded Rectangle 126"/>
              <p:cNvSpPr/>
              <p:nvPr/>
            </p:nvSpPr>
            <p:spPr>
              <a:xfrm>
                <a:off x="1869079" y="4868715"/>
                <a:ext cx="6053156" cy="649459"/>
              </a:xfrm>
              <a:prstGeom prst="roundRect">
                <a:avLst/>
              </a:prstGeom>
              <a:noFill/>
              <a:ln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_tradnl">
                  <a:solidFill>
                    <a:schemeClr val="accent5"/>
                  </a:solidFill>
                </a:endParaRPr>
              </a:p>
            </p:txBody>
          </p:sp>
          <p:sp>
            <p:nvSpPr>
              <p:cNvPr id="128" name="TextBox 127"/>
              <p:cNvSpPr txBox="1"/>
              <p:nvPr/>
            </p:nvSpPr>
            <p:spPr>
              <a:xfrm>
                <a:off x="94078" y="5018803"/>
                <a:ext cx="90922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sz="1200" b="1" dirty="0">
                    <a:solidFill>
                      <a:schemeClr val="accent5"/>
                    </a:solidFill>
                  </a:rPr>
                  <a:t>Data Lake</a:t>
                </a:r>
                <a:endParaRPr lang="es-ES_tradnl" sz="1200" b="1" dirty="0">
                  <a:solidFill>
                    <a:schemeClr val="accent5"/>
                  </a:solidFill>
                </a:endParaRPr>
              </a:p>
            </p:txBody>
          </p:sp>
          <p:pic>
            <p:nvPicPr>
              <p:cNvPr id="129" name="Picture 128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368629" y="4989506"/>
                <a:ext cx="343109" cy="343109"/>
              </a:xfrm>
              <a:prstGeom prst="rect">
                <a:avLst/>
              </a:prstGeom>
            </p:spPr>
          </p:pic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2739" y="4999023"/>
                <a:ext cx="626719" cy="411844"/>
              </a:xfrm>
              <a:prstGeom prst="rect">
                <a:avLst/>
              </a:prstGeom>
            </p:spPr>
          </p:pic>
          <p:pic>
            <p:nvPicPr>
              <p:cNvPr id="131" name="Picture 130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3125158" y="4932920"/>
                <a:ext cx="458744" cy="490749"/>
              </a:xfrm>
              <a:prstGeom prst="rect">
                <a:avLst/>
              </a:prstGeom>
            </p:spPr>
          </p:pic>
          <p:pic>
            <p:nvPicPr>
              <p:cNvPr id="132" name="Picture 131"/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402803" y="4905189"/>
                <a:ext cx="456211" cy="488040"/>
              </a:xfrm>
              <a:prstGeom prst="rect">
                <a:avLst/>
              </a:prstGeom>
            </p:spPr>
          </p:pic>
          <p:pic>
            <p:nvPicPr>
              <p:cNvPr id="133" name="Picture 132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4531778" y="5013511"/>
                <a:ext cx="419842" cy="359865"/>
              </a:xfrm>
              <a:prstGeom prst="rect">
                <a:avLst/>
              </a:prstGeom>
            </p:spPr>
          </p:pic>
          <p:pic>
            <p:nvPicPr>
              <p:cNvPr id="134" name="Picture 133"/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3764383" y="4906738"/>
                <a:ext cx="514855" cy="504129"/>
              </a:xfrm>
              <a:prstGeom prst="rect">
                <a:avLst/>
              </a:prstGeom>
            </p:spPr>
          </p:pic>
          <p:pic>
            <p:nvPicPr>
              <p:cNvPr id="135" name="Picture 134"/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7138215" y="4990270"/>
                <a:ext cx="459955" cy="426396"/>
              </a:xfrm>
              <a:prstGeom prst="rect">
                <a:avLst/>
              </a:prstGeom>
            </p:spPr>
          </p:pic>
        </p:grpSp>
        <p:sp>
          <p:nvSpPr>
            <p:cNvPr id="146" name="Rectángulo 2">
              <a:extLst>
                <a:ext uri="{FF2B5EF4-FFF2-40B4-BE49-F238E27FC236}">
                  <a16:creationId xmlns:a16="http://schemas.microsoft.com/office/drawing/2014/main" xmlns="" id="{9540268C-C410-4EC2-8B35-FBCAF6143879}"/>
                </a:ext>
              </a:extLst>
            </p:cNvPr>
            <p:cNvSpPr/>
            <p:nvPr/>
          </p:nvSpPr>
          <p:spPr>
            <a:xfrm>
              <a:off x="5449829" y="2799189"/>
              <a:ext cx="139172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1143000" indent="-1143000">
                <a:buFont typeface="Wingdings" charset="2"/>
                <a:buChar char="ü"/>
              </a:pPr>
              <a:r>
                <a:rPr lang="es-ES_tradnl" b="1" dirty="0">
                  <a:solidFill>
                    <a:schemeClr val="accent5"/>
                  </a:solidFill>
                </a:rPr>
                <a:t> </a:t>
              </a:r>
            </a:p>
          </p:txBody>
        </p:sp>
      </p:grpSp>
      <p:sp>
        <p:nvSpPr>
          <p:cNvPr id="161" name="Curved Up Arrow 160"/>
          <p:cNvSpPr/>
          <p:nvPr/>
        </p:nvSpPr>
        <p:spPr>
          <a:xfrm rot="16200000">
            <a:off x="6443482" y="2253333"/>
            <a:ext cx="812998" cy="404575"/>
          </a:xfrm>
          <a:prstGeom prst="curvedUpArrow">
            <a:avLst>
              <a:gd name="adj1" fmla="val 25000"/>
              <a:gd name="adj2" fmla="val 50000"/>
              <a:gd name="adj3" fmla="val 3111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  <p:grpSp>
        <p:nvGrpSpPr>
          <p:cNvPr id="178" name="Group 177"/>
          <p:cNvGrpSpPr/>
          <p:nvPr/>
        </p:nvGrpSpPr>
        <p:grpSpPr>
          <a:xfrm>
            <a:off x="7263155" y="4642853"/>
            <a:ext cx="2165357" cy="771109"/>
            <a:chOff x="7332605" y="5383634"/>
            <a:chExt cx="2165357" cy="771109"/>
          </a:xfrm>
        </p:grpSpPr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7677341" y="5474082"/>
              <a:ext cx="598073" cy="598073"/>
            </a:xfrm>
            <a:prstGeom prst="rect">
              <a:avLst/>
            </a:prstGeom>
          </p:spPr>
        </p:pic>
        <p:sp>
          <p:nvSpPr>
            <p:cNvPr id="90" name="Rounded Rectangle 89"/>
            <p:cNvSpPr/>
            <p:nvPr/>
          </p:nvSpPr>
          <p:spPr>
            <a:xfrm>
              <a:off x="7332605" y="5383634"/>
              <a:ext cx="2165357" cy="649459"/>
            </a:xfrm>
            <a:prstGeom prst="roundRect">
              <a:avLst/>
            </a:prstGeom>
            <a:no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chemeClr val="accent5"/>
                </a:solidFill>
              </a:endParaRPr>
            </a:p>
          </p:txBody>
        </p:sp>
        <p:pic>
          <p:nvPicPr>
            <p:cNvPr id="156" name="Picture 155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8463079" y="5422903"/>
              <a:ext cx="746392" cy="486413"/>
            </a:xfrm>
            <a:prstGeom prst="rect">
              <a:avLst/>
            </a:prstGeom>
          </p:spPr>
        </p:pic>
        <p:sp>
          <p:nvSpPr>
            <p:cNvPr id="157" name="TextBox 156"/>
            <p:cNvSpPr txBox="1"/>
            <p:nvPr/>
          </p:nvSpPr>
          <p:spPr>
            <a:xfrm>
              <a:off x="8352668" y="5783390"/>
              <a:ext cx="1078737" cy="371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72009" tIns="72009" rIns="72009" bIns="72009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587" indent="0">
                <a:buNone/>
              </a:pPr>
              <a:r>
                <a:rPr lang="es-ES_tradnl" sz="1200">
                  <a:solidFill>
                    <a:schemeClr val="accent5"/>
                  </a:solidFill>
                </a:rPr>
                <a:t>Registro Civil</a:t>
              </a:r>
              <a:endParaRPr lang="es-ES_tradnl" sz="1200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174" name="Group 173"/>
          <p:cNvGrpSpPr/>
          <p:nvPr/>
        </p:nvGrpSpPr>
        <p:grpSpPr>
          <a:xfrm>
            <a:off x="1749339" y="3347050"/>
            <a:ext cx="7742402" cy="1235725"/>
            <a:chOff x="1749339" y="3347050"/>
            <a:chExt cx="7742402" cy="1235725"/>
          </a:xfrm>
        </p:grpSpPr>
        <p:sp>
          <p:nvSpPr>
            <p:cNvPr id="148" name="Rectángulo: esquinas redondeadas 6">
              <a:extLst>
                <a:ext uri="{FF2B5EF4-FFF2-40B4-BE49-F238E27FC236}">
                  <a16:creationId xmlns:a16="http://schemas.microsoft.com/office/drawing/2014/main" xmlns="" id="{3273BA36-592F-4723-8139-4D5B827C405C}"/>
                </a:ext>
              </a:extLst>
            </p:cNvPr>
            <p:cNvSpPr/>
            <p:nvPr/>
          </p:nvSpPr>
          <p:spPr>
            <a:xfrm>
              <a:off x="3426597" y="3347050"/>
              <a:ext cx="6065144" cy="1235725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accent5"/>
                </a:solidFill>
              </a:endParaRPr>
            </a:p>
          </p:txBody>
        </p:sp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3679794" y="3637587"/>
              <a:ext cx="989914" cy="658743"/>
            </a:xfrm>
            <a:prstGeom prst="rect">
              <a:avLst/>
            </a:prstGeom>
          </p:spPr>
        </p:pic>
        <p:sp>
          <p:nvSpPr>
            <p:cNvPr id="160" name="TextBox 159"/>
            <p:cNvSpPr txBox="1"/>
            <p:nvPr/>
          </p:nvSpPr>
          <p:spPr>
            <a:xfrm>
              <a:off x="1749339" y="3795369"/>
              <a:ext cx="14061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b="1" dirty="0">
                  <a:solidFill>
                    <a:schemeClr val="accent5"/>
                  </a:solidFill>
                </a:rPr>
                <a:t>Listas de Espera</a:t>
              </a:r>
              <a:endParaRPr lang="es-ES_tradnl" sz="1200" b="1" dirty="0">
                <a:solidFill>
                  <a:schemeClr val="accent5"/>
                </a:solidFill>
              </a:endParaRPr>
            </a:p>
          </p:txBody>
        </p:sp>
        <p:pic>
          <p:nvPicPr>
            <p:cNvPr id="166" name="Picture 165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4914706" y="3637587"/>
              <a:ext cx="919086" cy="611610"/>
            </a:xfrm>
            <a:prstGeom prst="rect">
              <a:avLst/>
            </a:prstGeom>
          </p:spPr>
        </p:pic>
        <p:pic>
          <p:nvPicPr>
            <p:cNvPr id="167" name="Picture 166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6018689" y="3637587"/>
              <a:ext cx="987714" cy="657279"/>
            </a:xfrm>
            <a:prstGeom prst="rect">
              <a:avLst/>
            </a:prstGeom>
          </p:spPr>
        </p:pic>
        <p:pic>
          <p:nvPicPr>
            <p:cNvPr id="168" name="Picture 167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7298803" y="3637587"/>
              <a:ext cx="987714" cy="657279"/>
            </a:xfrm>
            <a:prstGeom prst="rect">
              <a:avLst/>
            </a:prstGeom>
          </p:spPr>
        </p:pic>
        <p:pic>
          <p:nvPicPr>
            <p:cNvPr id="169" name="Picture 168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404221" y="3637587"/>
              <a:ext cx="987714" cy="657279"/>
            </a:xfrm>
            <a:prstGeom prst="rect">
              <a:avLst/>
            </a:prstGeom>
          </p:spPr>
        </p:pic>
        <p:sp>
          <p:nvSpPr>
            <p:cNvPr id="170" name="Rounded Rectangle 169"/>
            <p:cNvSpPr/>
            <p:nvPr/>
          </p:nvSpPr>
          <p:spPr>
            <a:xfrm>
              <a:off x="8323783" y="3653600"/>
              <a:ext cx="1068152" cy="699469"/>
            </a:xfrm>
            <a:prstGeom prst="roundRect">
              <a:avLst/>
            </a:prstGeom>
            <a:solidFill>
              <a:schemeClr val="bg1">
                <a:lumMod val="9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 err="1">
                <a:solidFill>
                  <a:schemeClr val="tx1"/>
                </a:solidFill>
              </a:endParaRPr>
            </a:p>
          </p:txBody>
        </p:sp>
        <p:sp>
          <p:nvSpPr>
            <p:cNvPr id="171" name="Rounded Rectangle 170"/>
            <p:cNvSpPr/>
            <p:nvPr/>
          </p:nvSpPr>
          <p:spPr>
            <a:xfrm>
              <a:off x="5996471" y="3615177"/>
              <a:ext cx="1068152" cy="699469"/>
            </a:xfrm>
            <a:prstGeom prst="roundRect">
              <a:avLst/>
            </a:prstGeom>
            <a:solidFill>
              <a:schemeClr val="bg1">
                <a:lumMod val="9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 err="1">
                <a:solidFill>
                  <a:schemeClr val="tx1"/>
                </a:solidFill>
              </a:endParaRPr>
            </a:p>
          </p:txBody>
        </p:sp>
        <p:sp>
          <p:nvSpPr>
            <p:cNvPr id="172" name="Rounded Rectangle 171"/>
            <p:cNvSpPr/>
            <p:nvPr/>
          </p:nvSpPr>
          <p:spPr>
            <a:xfrm>
              <a:off x="7226995" y="3666034"/>
              <a:ext cx="1068152" cy="699469"/>
            </a:xfrm>
            <a:prstGeom prst="roundRect">
              <a:avLst/>
            </a:prstGeom>
            <a:solidFill>
              <a:schemeClr val="bg1">
                <a:lumMod val="9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55" name="Curved Up Arrow 154"/>
          <p:cNvSpPr/>
          <p:nvPr/>
        </p:nvSpPr>
        <p:spPr>
          <a:xfrm rot="16200000">
            <a:off x="5570041" y="3164989"/>
            <a:ext cx="1159704" cy="553965"/>
          </a:xfrm>
          <a:prstGeom prst="curved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  <p:sp>
        <p:nvSpPr>
          <p:cNvPr id="163" name="Curved Up Arrow 162"/>
          <p:cNvSpPr/>
          <p:nvPr/>
        </p:nvSpPr>
        <p:spPr>
          <a:xfrm rot="16200000" flipH="1">
            <a:off x="6314986" y="2563712"/>
            <a:ext cx="2660339" cy="710633"/>
          </a:xfrm>
          <a:prstGeom prst="curved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  <p:sp>
        <p:nvSpPr>
          <p:cNvPr id="162" name="Curved Up Arrow 161"/>
          <p:cNvSpPr/>
          <p:nvPr/>
        </p:nvSpPr>
        <p:spPr>
          <a:xfrm rot="16200000" flipV="1">
            <a:off x="4201008" y="4231585"/>
            <a:ext cx="898184" cy="339834"/>
          </a:xfrm>
          <a:prstGeom prst="curved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  <p:sp>
        <p:nvSpPr>
          <p:cNvPr id="179" name="Curved Up Arrow 178"/>
          <p:cNvSpPr/>
          <p:nvPr/>
        </p:nvSpPr>
        <p:spPr>
          <a:xfrm rot="5400000" flipH="1" flipV="1">
            <a:off x="7663771" y="4383985"/>
            <a:ext cx="898184" cy="339834"/>
          </a:xfrm>
          <a:prstGeom prst="curved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699002" y="5391397"/>
            <a:ext cx="7729510" cy="649459"/>
            <a:chOff x="1699002" y="5391397"/>
            <a:chExt cx="7729510" cy="649459"/>
          </a:xfrm>
        </p:grpSpPr>
        <p:sp>
          <p:nvSpPr>
            <p:cNvPr id="88" name="Rounded Rectangle 87"/>
            <p:cNvSpPr/>
            <p:nvPr/>
          </p:nvSpPr>
          <p:spPr>
            <a:xfrm>
              <a:off x="3404345" y="5391397"/>
              <a:ext cx="6024167" cy="649459"/>
            </a:xfrm>
            <a:prstGeom prst="roundRect">
              <a:avLst/>
            </a:prstGeom>
            <a:no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800" dirty="0">
                <a:solidFill>
                  <a:schemeClr val="accent5"/>
                </a:solidFill>
              </a:endParaRP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1699002" y="5526220"/>
              <a:ext cx="13789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_tradnl" sz="1200" b="1" dirty="0">
                  <a:solidFill>
                    <a:schemeClr val="accent5"/>
                  </a:solidFill>
                </a:rPr>
                <a:t>Diversidad de </a:t>
              </a:r>
            </a:p>
            <a:p>
              <a:r>
                <a:rPr lang="es-ES_tradnl" sz="1200" b="1" dirty="0">
                  <a:solidFill>
                    <a:schemeClr val="accent5"/>
                  </a:solidFill>
                </a:rPr>
                <a:t>Sistemas SIDRA</a:t>
              </a:r>
            </a:p>
          </p:txBody>
        </p:sp>
        <p:pic>
          <p:nvPicPr>
            <p:cNvPr id="92" name="Picture 91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5296060" y="5442347"/>
              <a:ext cx="577934" cy="586934"/>
            </a:xfrm>
            <a:prstGeom prst="rect">
              <a:avLst/>
            </a:prstGeom>
          </p:spPr>
        </p:pic>
        <p:pic>
          <p:nvPicPr>
            <p:cNvPr id="94" name="Picture 93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3737669" y="5459791"/>
              <a:ext cx="693300" cy="512670"/>
            </a:xfrm>
            <a:prstGeom prst="rect">
              <a:avLst/>
            </a:prstGeom>
          </p:spPr>
        </p:pic>
        <p:pic>
          <p:nvPicPr>
            <p:cNvPr id="165" name="Picture 164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6704881" y="5454959"/>
              <a:ext cx="603043" cy="559044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8206940" y="5482030"/>
              <a:ext cx="478736" cy="468191"/>
            </a:xfrm>
            <a:prstGeom prst="rect">
              <a:avLst/>
            </a:prstGeom>
          </p:spPr>
        </p:pic>
      </p:grpSp>
      <p:sp>
        <p:nvSpPr>
          <p:cNvPr id="159" name="Curved Up Arrow 158"/>
          <p:cNvSpPr/>
          <p:nvPr/>
        </p:nvSpPr>
        <p:spPr>
          <a:xfrm rot="16200000" flipV="1">
            <a:off x="4048608" y="5213717"/>
            <a:ext cx="898184" cy="339834"/>
          </a:xfrm>
          <a:prstGeom prst="curved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755174" y="1174916"/>
            <a:ext cx="7747043" cy="649459"/>
            <a:chOff x="1755174" y="1174916"/>
            <a:chExt cx="7747043" cy="649459"/>
          </a:xfrm>
        </p:grpSpPr>
        <p:grpSp>
          <p:nvGrpSpPr>
            <p:cNvPr id="176" name="Group 175"/>
            <p:cNvGrpSpPr/>
            <p:nvPr/>
          </p:nvGrpSpPr>
          <p:grpSpPr>
            <a:xfrm>
              <a:off x="1755174" y="1174916"/>
              <a:ext cx="7747043" cy="649459"/>
              <a:chOff x="1755174" y="1174916"/>
              <a:chExt cx="7747043" cy="649459"/>
            </a:xfrm>
          </p:grpSpPr>
          <p:grpSp>
            <p:nvGrpSpPr>
              <p:cNvPr id="116" name="Group 115"/>
              <p:cNvGrpSpPr/>
              <p:nvPr/>
            </p:nvGrpSpPr>
            <p:grpSpPr>
              <a:xfrm>
                <a:off x="1755174" y="1174916"/>
                <a:ext cx="7747043" cy="649459"/>
                <a:chOff x="181481" y="1142311"/>
                <a:chExt cx="7747043" cy="649459"/>
              </a:xfrm>
            </p:grpSpPr>
            <p:sp>
              <p:nvSpPr>
                <p:cNvPr id="117" name="Rounded Rectangle 116"/>
                <p:cNvSpPr/>
                <p:nvPr/>
              </p:nvSpPr>
              <p:spPr>
                <a:xfrm>
                  <a:off x="1896652" y="1142311"/>
                  <a:ext cx="6031872" cy="649459"/>
                </a:xfrm>
                <a:prstGeom prst="roundRect">
                  <a:avLst/>
                </a:prstGeom>
                <a:noFill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ES_tradnl">
                    <a:solidFill>
                      <a:schemeClr val="accent5"/>
                    </a:solidFill>
                  </a:endParaRPr>
                </a:p>
              </p:txBody>
            </p:sp>
            <p:sp>
              <p:nvSpPr>
                <p:cNvPr id="118" name="TextBox 117"/>
                <p:cNvSpPr txBox="1"/>
                <p:nvPr/>
              </p:nvSpPr>
              <p:spPr>
                <a:xfrm>
                  <a:off x="181481" y="1238094"/>
                  <a:ext cx="1058303" cy="46166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" sz="1200" b="1" dirty="0">
                      <a:solidFill>
                        <a:schemeClr val="accent5"/>
                      </a:solidFill>
                    </a:rPr>
                    <a:t>Analítica</a:t>
                  </a:r>
                </a:p>
                <a:p>
                  <a:r>
                    <a:rPr lang="es-ES" sz="1200" b="1" dirty="0">
                      <a:solidFill>
                        <a:schemeClr val="accent5"/>
                      </a:solidFill>
                    </a:rPr>
                    <a:t>Data </a:t>
                  </a:r>
                  <a:r>
                    <a:rPr lang="es-ES" sz="1200" b="1" dirty="0" err="1">
                      <a:solidFill>
                        <a:schemeClr val="accent5"/>
                      </a:solidFill>
                    </a:rPr>
                    <a:t>Mining</a:t>
                  </a:r>
                  <a:endParaRPr lang="es-ES" sz="1200" b="1" dirty="0">
                    <a:solidFill>
                      <a:schemeClr val="accent5"/>
                    </a:solidFill>
                  </a:endParaRPr>
                </a:p>
              </p:txBody>
            </p:sp>
            <p:pic>
              <p:nvPicPr>
                <p:cNvPr id="119" name="Picture 118"/>
                <p:cNvPicPr>
                  <a:picLocks noChangeAspect="1"/>
                </p:cNvPicPr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2136694" y="1241008"/>
                  <a:ext cx="679330" cy="452063"/>
                </a:xfrm>
                <a:prstGeom prst="rect">
                  <a:avLst/>
                </a:prstGeom>
              </p:spPr>
            </p:pic>
            <p:pic>
              <p:nvPicPr>
                <p:cNvPr id="120" name="Picture 119"/>
                <p:cNvPicPr>
                  <a:picLocks noChangeAspect="1"/>
                </p:cNvPicPr>
                <p:nvPr/>
              </p:nvPicPr>
              <p:blipFill>
                <a:blip r:embed="rId27"/>
                <a:stretch>
                  <a:fillRect/>
                </a:stretch>
              </p:blipFill>
              <p:spPr>
                <a:xfrm>
                  <a:off x="4897342" y="1256329"/>
                  <a:ext cx="406233" cy="510628"/>
                </a:xfrm>
                <a:prstGeom prst="rect">
                  <a:avLst/>
                </a:prstGeom>
              </p:spPr>
            </p:pic>
            <p:sp>
              <p:nvSpPr>
                <p:cNvPr id="121" name="TextBox 120"/>
                <p:cNvSpPr txBox="1"/>
                <p:nvPr/>
              </p:nvSpPr>
              <p:spPr>
                <a:xfrm>
                  <a:off x="5310152" y="1273259"/>
                  <a:ext cx="1112805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" sz="800" dirty="0">
                      <a:solidFill>
                        <a:schemeClr val="accent5"/>
                      </a:solidFill>
                    </a:rPr>
                    <a:t>Algoritmo de Riesgo</a:t>
                  </a:r>
                </a:p>
                <a:p>
                  <a:r>
                    <a:rPr lang="es-ES" sz="800" dirty="0">
                      <a:solidFill>
                        <a:schemeClr val="accent5"/>
                      </a:solidFill>
                    </a:rPr>
                    <a:t>De Muerte</a:t>
                  </a:r>
                  <a:endParaRPr lang="es-ES_tradnl" sz="800" dirty="0">
                    <a:solidFill>
                      <a:schemeClr val="accent5"/>
                    </a:solidFill>
                  </a:endParaRPr>
                </a:p>
              </p:txBody>
            </p:sp>
            <p:pic>
              <p:nvPicPr>
                <p:cNvPr id="122" name="Picture 121"/>
                <p:cNvPicPr>
                  <a:picLocks noChangeAspect="1"/>
                </p:cNvPicPr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3564271" y="1268061"/>
                  <a:ext cx="424985" cy="496497"/>
                </a:xfrm>
                <a:prstGeom prst="rect">
                  <a:avLst/>
                </a:prstGeom>
              </p:spPr>
            </p:pic>
            <p:sp>
              <p:nvSpPr>
                <p:cNvPr id="123" name="TextBox 122"/>
                <p:cNvSpPr txBox="1"/>
                <p:nvPr/>
              </p:nvSpPr>
              <p:spPr>
                <a:xfrm>
                  <a:off x="3877300" y="1338704"/>
                  <a:ext cx="816249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800" dirty="0" err="1">
                      <a:solidFill>
                        <a:schemeClr val="accent5"/>
                      </a:solidFill>
                    </a:rPr>
                    <a:t>Pron</a:t>
                  </a:r>
                  <a:r>
                    <a:rPr lang="es-ES" sz="800" dirty="0" err="1">
                      <a:solidFill>
                        <a:schemeClr val="accent5"/>
                      </a:solidFill>
                    </a:rPr>
                    <a:t>óstico</a:t>
                  </a:r>
                  <a:r>
                    <a:rPr lang="es-ES" sz="800" dirty="0">
                      <a:solidFill>
                        <a:schemeClr val="accent5"/>
                      </a:solidFill>
                    </a:rPr>
                    <a:t> de</a:t>
                  </a:r>
                </a:p>
                <a:p>
                  <a:r>
                    <a:rPr lang="es-ES" sz="800" dirty="0">
                      <a:solidFill>
                        <a:schemeClr val="accent5"/>
                      </a:solidFill>
                    </a:rPr>
                    <a:t>demanda</a:t>
                  </a:r>
                  <a:endParaRPr lang="es-ES_tradnl" sz="800" dirty="0">
                    <a:solidFill>
                      <a:schemeClr val="accent5"/>
                    </a:solidFill>
                  </a:endParaRPr>
                </a:p>
              </p:txBody>
            </p:sp>
            <p:pic>
              <p:nvPicPr>
                <p:cNvPr id="124" name="Picture 123"/>
                <p:cNvPicPr>
                  <a:picLocks noChangeAspect="1"/>
                </p:cNvPicPr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6335328" y="1205669"/>
                  <a:ext cx="551248" cy="551248"/>
                </a:xfrm>
                <a:prstGeom prst="rect">
                  <a:avLst/>
                </a:prstGeom>
              </p:spPr>
            </p:pic>
            <p:sp>
              <p:nvSpPr>
                <p:cNvPr id="125" name="TextBox 124"/>
                <p:cNvSpPr txBox="1"/>
                <p:nvPr/>
              </p:nvSpPr>
              <p:spPr>
                <a:xfrm>
                  <a:off x="6832653" y="1333053"/>
                  <a:ext cx="700833" cy="33855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s-ES_tradnl" sz="800" dirty="0" err="1">
                      <a:solidFill>
                        <a:schemeClr val="accent5"/>
                      </a:solidFill>
                    </a:rPr>
                    <a:t>Pron</a:t>
                  </a:r>
                  <a:r>
                    <a:rPr lang="es-ES" sz="800" dirty="0" err="1">
                      <a:solidFill>
                        <a:schemeClr val="accent5"/>
                      </a:solidFill>
                    </a:rPr>
                    <a:t>óstico</a:t>
                  </a:r>
                  <a:r>
                    <a:rPr lang="es-ES" sz="800" dirty="0">
                      <a:solidFill>
                        <a:schemeClr val="accent5"/>
                      </a:solidFill>
                    </a:rPr>
                    <a:t> </a:t>
                  </a:r>
                </a:p>
                <a:p>
                  <a:r>
                    <a:rPr lang="es-ES" sz="800" dirty="0">
                      <a:solidFill>
                        <a:schemeClr val="accent5"/>
                      </a:solidFill>
                    </a:rPr>
                    <a:t>de Egreso</a:t>
                  </a:r>
                  <a:endParaRPr lang="es-ES_tradnl" sz="800" dirty="0">
                    <a:solidFill>
                      <a:schemeClr val="accent5"/>
                    </a:solidFill>
                  </a:endParaRPr>
                </a:p>
              </p:txBody>
            </p:sp>
          </p:grpSp>
          <p:sp>
            <p:nvSpPr>
              <p:cNvPr id="150" name="TextBox 149"/>
              <p:cNvSpPr txBox="1"/>
              <p:nvPr/>
            </p:nvSpPr>
            <p:spPr>
              <a:xfrm>
                <a:off x="4175662" y="1249407"/>
                <a:ext cx="67197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800" dirty="0" err="1">
                    <a:solidFill>
                      <a:schemeClr val="accent5"/>
                    </a:solidFill>
                  </a:rPr>
                  <a:t>An</a:t>
                </a:r>
                <a:r>
                  <a:rPr lang="es-ES" sz="800" dirty="0">
                    <a:solidFill>
                      <a:schemeClr val="accent5"/>
                    </a:solidFill>
                  </a:rPr>
                  <a:t>á</a:t>
                </a:r>
                <a:r>
                  <a:rPr lang="es-ES_tradnl" sz="800" dirty="0">
                    <a:solidFill>
                      <a:schemeClr val="accent5"/>
                    </a:solidFill>
                  </a:rPr>
                  <a:t>lisis </a:t>
                </a:r>
              </a:p>
              <a:p>
                <a:r>
                  <a:rPr lang="es-ES_tradnl" sz="800" dirty="0" err="1">
                    <a:solidFill>
                      <a:schemeClr val="accent5"/>
                    </a:solidFill>
                  </a:rPr>
                  <a:t>Sem</a:t>
                </a:r>
                <a:r>
                  <a:rPr lang="es-ES" sz="800" dirty="0" err="1">
                    <a:solidFill>
                      <a:schemeClr val="accent5"/>
                    </a:solidFill>
                  </a:rPr>
                  <a:t>ántico</a:t>
                </a:r>
                <a:endParaRPr lang="es-ES_tradnl" sz="800" dirty="0">
                  <a:solidFill>
                    <a:schemeClr val="accent5"/>
                  </a:solidFill>
                </a:endParaRPr>
              </a:p>
            </p:txBody>
          </p:sp>
        </p:grpSp>
        <p:sp>
          <p:nvSpPr>
            <p:cNvPr id="76" name="Rounded Rectangle 75"/>
            <p:cNvSpPr/>
            <p:nvPr/>
          </p:nvSpPr>
          <p:spPr>
            <a:xfrm>
              <a:off x="7980401" y="1252589"/>
              <a:ext cx="1099050" cy="522494"/>
            </a:xfrm>
            <a:prstGeom prst="roundRect">
              <a:avLst/>
            </a:prstGeom>
            <a:solidFill>
              <a:schemeClr val="bg1">
                <a:lumMod val="9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 err="1">
                <a:solidFill>
                  <a:schemeClr val="tx1"/>
                </a:solidFill>
              </a:endParaRPr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5161080" y="1252589"/>
              <a:ext cx="1099050" cy="522494"/>
            </a:xfrm>
            <a:prstGeom prst="roundRect">
              <a:avLst/>
            </a:prstGeom>
            <a:solidFill>
              <a:schemeClr val="bg1">
                <a:lumMod val="9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 err="1">
                <a:solidFill>
                  <a:schemeClr val="tx1"/>
                </a:solidFill>
              </a:endParaRPr>
            </a:p>
          </p:txBody>
        </p:sp>
        <p:sp>
          <p:nvSpPr>
            <p:cNvPr id="78" name="Rounded Rectangle 77"/>
            <p:cNvSpPr/>
            <p:nvPr/>
          </p:nvSpPr>
          <p:spPr>
            <a:xfrm>
              <a:off x="3799130" y="1240183"/>
              <a:ext cx="1099050" cy="522494"/>
            </a:xfrm>
            <a:prstGeom prst="roundRect">
              <a:avLst/>
            </a:prstGeom>
            <a:solidFill>
              <a:schemeClr val="bg1">
                <a:lumMod val="95000"/>
                <a:alpha val="6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0" name="Curved Up Arrow 79"/>
          <p:cNvSpPr/>
          <p:nvPr/>
        </p:nvSpPr>
        <p:spPr>
          <a:xfrm rot="16200000" flipV="1">
            <a:off x="4521591" y="1900640"/>
            <a:ext cx="1402402" cy="553965"/>
          </a:xfrm>
          <a:prstGeom prst="curvedUp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532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1" grpId="0" animBg="1"/>
      <p:bldP spid="155" grpId="0" animBg="1"/>
      <p:bldP spid="163" grpId="0" animBg="1"/>
      <p:bldP spid="162" grpId="0" animBg="1"/>
      <p:bldP spid="179" grpId="0" animBg="1"/>
      <p:bldP spid="159" grpId="0" animBg="1"/>
      <p:bldP spid="80" grpId="0" animBg="1"/>
      <p:bldP spid="80" grpId="1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Proyectos relacionados a listas de espera</a:t>
            </a:r>
            <a:r>
              <a:rPr lang="mr-IN" dirty="0"/>
              <a:t>…</a:t>
            </a:r>
            <a:endParaRPr lang="es-ES_tradnl" dirty="0"/>
          </a:p>
        </p:txBody>
      </p:sp>
      <p:sp>
        <p:nvSpPr>
          <p:cNvPr id="4" name="Rounded Rectangle 3"/>
          <p:cNvSpPr/>
          <p:nvPr/>
        </p:nvSpPr>
        <p:spPr>
          <a:xfrm>
            <a:off x="1156261" y="2535162"/>
            <a:ext cx="768983" cy="698500"/>
          </a:xfrm>
          <a:prstGeom prst="roundRect">
            <a:avLst/>
          </a:prstGeom>
          <a:solidFill>
            <a:srgbClr val="0070C0"/>
          </a:solidFill>
          <a:ln/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_tradnl" sz="800" b="1" dirty="0">
                <a:solidFill>
                  <a:schemeClr val="tx1"/>
                </a:solidFill>
              </a:rPr>
              <a:t>LE No GES +</a:t>
            </a:r>
          </a:p>
        </p:txBody>
      </p:sp>
      <p:grpSp>
        <p:nvGrpSpPr>
          <p:cNvPr id="319" name="Group 318"/>
          <p:cNvGrpSpPr/>
          <p:nvPr/>
        </p:nvGrpSpPr>
        <p:grpSpPr>
          <a:xfrm>
            <a:off x="1925244" y="2517624"/>
            <a:ext cx="1878829" cy="698500"/>
            <a:chOff x="1925244" y="2517624"/>
            <a:chExt cx="1878829" cy="698500"/>
          </a:xfrm>
        </p:grpSpPr>
        <p:sp>
          <p:nvSpPr>
            <p:cNvPr id="6" name="Rounded Rectangle 5"/>
            <p:cNvSpPr/>
            <p:nvPr/>
          </p:nvSpPr>
          <p:spPr>
            <a:xfrm>
              <a:off x="3035090" y="2517624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>
              <a:solidFill>
                <a:schemeClr val="accent4">
                  <a:lumMod val="75000"/>
                </a:schemeClr>
              </a:solidFill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Registro </a:t>
              </a:r>
              <a:r>
                <a:rPr lang="es-ES_tradnl" sz="800" b="1" dirty="0" err="1">
                  <a:solidFill>
                    <a:schemeClr val="tx1"/>
                  </a:solidFill>
                </a:rPr>
                <a:t>Clinico</a:t>
              </a:r>
              <a:r>
                <a:rPr lang="es-ES_tradnl" sz="800" b="1" dirty="0">
                  <a:solidFill>
                    <a:schemeClr val="tx1"/>
                  </a:solidFill>
                </a:rPr>
                <a:t> Compartido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8" name="Straight Arrow Connector 7"/>
            <p:cNvCxnSpPr>
              <a:stCxn id="4" idx="3"/>
              <a:endCxn id="6" idx="1"/>
            </p:cNvCxnSpPr>
            <p:nvPr/>
          </p:nvCxnSpPr>
          <p:spPr>
            <a:xfrm flipV="1">
              <a:off x="1925244" y="2866874"/>
              <a:ext cx="1109846" cy="17538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0" name="Group 319"/>
          <p:cNvGrpSpPr/>
          <p:nvPr/>
        </p:nvGrpSpPr>
        <p:grpSpPr>
          <a:xfrm>
            <a:off x="3035057" y="1514491"/>
            <a:ext cx="768983" cy="1003133"/>
            <a:chOff x="3002523" y="1939066"/>
            <a:chExt cx="768983" cy="1003133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5" name="Rounded Rectangle 4"/>
            <p:cNvSpPr/>
            <p:nvPr/>
          </p:nvSpPr>
          <p:spPr>
            <a:xfrm>
              <a:off x="3002523" y="1939066"/>
              <a:ext cx="768983" cy="698500"/>
            </a:xfrm>
            <a:prstGeom prst="roundRect">
              <a:avLst/>
            </a:prstGeom>
            <a:grpFill/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accent5"/>
                  </a:solidFill>
                </a:rPr>
                <a:t>LE GES</a:t>
              </a:r>
            </a:p>
          </p:txBody>
        </p:sp>
        <p:cxnSp>
          <p:nvCxnSpPr>
            <p:cNvPr id="12" name="Straight Arrow Connector 11"/>
            <p:cNvCxnSpPr>
              <a:stCxn id="5" idx="2"/>
              <a:endCxn id="6" idx="0"/>
            </p:cNvCxnSpPr>
            <p:nvPr/>
          </p:nvCxnSpPr>
          <p:spPr>
            <a:xfrm>
              <a:off x="3387015" y="2637566"/>
              <a:ext cx="33" cy="304633"/>
            </a:xfrm>
            <a:prstGeom prst="straightConnector1">
              <a:avLst/>
            </a:prstGeom>
            <a:grpFill/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5" name="Group 314"/>
          <p:cNvGrpSpPr/>
          <p:nvPr/>
        </p:nvGrpSpPr>
        <p:grpSpPr>
          <a:xfrm>
            <a:off x="1110036" y="981132"/>
            <a:ext cx="768983" cy="1554030"/>
            <a:chOff x="1110036" y="981132"/>
            <a:chExt cx="768983" cy="1554030"/>
          </a:xfrm>
        </p:grpSpPr>
        <p:sp>
          <p:nvSpPr>
            <p:cNvPr id="13" name="Rounded Rectangle 12"/>
            <p:cNvSpPr/>
            <p:nvPr/>
          </p:nvSpPr>
          <p:spPr>
            <a:xfrm>
              <a:off x="1110036" y="981132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" sz="800" b="1" dirty="0">
                  <a:solidFill>
                    <a:schemeClr val="tx1"/>
                  </a:solidFill>
                </a:rPr>
                <a:t>Diagnostico homologados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15" name="Straight Arrow Connector 14"/>
            <p:cNvCxnSpPr>
              <a:stCxn id="13" idx="2"/>
              <a:endCxn id="4" idx="0"/>
            </p:cNvCxnSpPr>
            <p:nvPr/>
          </p:nvCxnSpPr>
          <p:spPr>
            <a:xfrm>
              <a:off x="1494528" y="1679632"/>
              <a:ext cx="46225" cy="85553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4" name="Group 313"/>
          <p:cNvGrpSpPr/>
          <p:nvPr/>
        </p:nvGrpSpPr>
        <p:grpSpPr>
          <a:xfrm>
            <a:off x="168545" y="1192321"/>
            <a:ext cx="1372208" cy="1342841"/>
            <a:chOff x="168545" y="1192321"/>
            <a:chExt cx="1372208" cy="1342841"/>
          </a:xfrm>
        </p:grpSpPr>
        <p:sp>
          <p:nvSpPr>
            <p:cNvPr id="25" name="Rounded Rectangle 24"/>
            <p:cNvSpPr/>
            <p:nvPr/>
          </p:nvSpPr>
          <p:spPr>
            <a:xfrm>
              <a:off x="168545" y="1192321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Riesgo de Muerte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27" name="Straight Arrow Connector 26"/>
            <p:cNvCxnSpPr>
              <a:stCxn id="25" idx="2"/>
              <a:endCxn id="4" idx="0"/>
            </p:cNvCxnSpPr>
            <p:nvPr/>
          </p:nvCxnSpPr>
          <p:spPr>
            <a:xfrm>
              <a:off x="553037" y="1890821"/>
              <a:ext cx="987716" cy="644341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6" name="Group 315"/>
          <p:cNvGrpSpPr/>
          <p:nvPr/>
        </p:nvGrpSpPr>
        <p:grpSpPr>
          <a:xfrm>
            <a:off x="1540753" y="1192321"/>
            <a:ext cx="1345641" cy="1342841"/>
            <a:chOff x="1540753" y="1192321"/>
            <a:chExt cx="1345641" cy="1342841"/>
          </a:xfrm>
        </p:grpSpPr>
        <p:sp>
          <p:nvSpPr>
            <p:cNvPr id="47" name="Rounded Rectangle 46"/>
            <p:cNvSpPr/>
            <p:nvPr/>
          </p:nvSpPr>
          <p:spPr>
            <a:xfrm>
              <a:off x="2117411" y="1192321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Tiempos Max x </a:t>
              </a:r>
              <a:r>
                <a:rPr lang="es-ES_tradnl" sz="800" b="1" dirty="0" err="1">
                  <a:solidFill>
                    <a:schemeClr val="tx1"/>
                  </a:solidFill>
                </a:rPr>
                <a:t>diagnosticos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59" name="Straight Arrow Connector 58"/>
            <p:cNvCxnSpPr>
              <a:stCxn id="47" idx="2"/>
              <a:endCxn id="4" idx="0"/>
            </p:cNvCxnSpPr>
            <p:nvPr/>
          </p:nvCxnSpPr>
          <p:spPr>
            <a:xfrm flipH="1">
              <a:off x="1540753" y="1890821"/>
              <a:ext cx="961150" cy="644341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4" name="Group 323"/>
          <p:cNvGrpSpPr/>
          <p:nvPr/>
        </p:nvGrpSpPr>
        <p:grpSpPr>
          <a:xfrm>
            <a:off x="5106177" y="3654032"/>
            <a:ext cx="1318810" cy="698500"/>
            <a:chOff x="5106177" y="3654032"/>
            <a:chExt cx="1318810" cy="698500"/>
          </a:xfrm>
        </p:grpSpPr>
        <p:sp>
          <p:nvSpPr>
            <p:cNvPr id="76" name="Rounded Rectangle 75"/>
            <p:cNvSpPr/>
            <p:nvPr/>
          </p:nvSpPr>
          <p:spPr>
            <a:xfrm>
              <a:off x="5656004" y="3654032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Demanda Caracterizada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78" name="Straight Arrow Connector 77"/>
            <p:cNvCxnSpPr>
              <a:stCxn id="101" idx="3"/>
              <a:endCxn id="76" idx="1"/>
            </p:cNvCxnSpPr>
            <p:nvPr/>
          </p:nvCxnSpPr>
          <p:spPr>
            <a:xfrm>
              <a:off x="5106177" y="3988426"/>
              <a:ext cx="549827" cy="14856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6" name="Group 325"/>
          <p:cNvGrpSpPr/>
          <p:nvPr/>
        </p:nvGrpSpPr>
        <p:grpSpPr>
          <a:xfrm>
            <a:off x="6424987" y="3639176"/>
            <a:ext cx="2087790" cy="698500"/>
            <a:chOff x="6424987" y="3639176"/>
            <a:chExt cx="2087790" cy="698500"/>
          </a:xfrm>
        </p:grpSpPr>
        <p:sp>
          <p:nvSpPr>
            <p:cNvPr id="80" name="Rounded Rectangle 79"/>
            <p:cNvSpPr/>
            <p:nvPr/>
          </p:nvSpPr>
          <p:spPr>
            <a:xfrm>
              <a:off x="7743794" y="3639176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Planificar la RISS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82" name="Straight Arrow Connector 81"/>
            <p:cNvCxnSpPr>
              <a:stCxn id="76" idx="3"/>
              <a:endCxn id="80" idx="1"/>
            </p:cNvCxnSpPr>
            <p:nvPr/>
          </p:nvCxnSpPr>
          <p:spPr>
            <a:xfrm flipV="1">
              <a:off x="6424987" y="3988426"/>
              <a:ext cx="1318807" cy="14856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8" name="Group 327"/>
          <p:cNvGrpSpPr/>
          <p:nvPr/>
        </p:nvGrpSpPr>
        <p:grpSpPr>
          <a:xfrm>
            <a:off x="6846998" y="4337676"/>
            <a:ext cx="1281288" cy="722262"/>
            <a:chOff x="6846998" y="4337676"/>
            <a:chExt cx="1281288" cy="722262"/>
          </a:xfrm>
        </p:grpSpPr>
        <p:sp>
          <p:nvSpPr>
            <p:cNvPr id="79" name="Rounded Rectangle 78"/>
            <p:cNvSpPr/>
            <p:nvPr/>
          </p:nvSpPr>
          <p:spPr>
            <a:xfrm>
              <a:off x="6846998" y="4361438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Oferta de prestaciones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84" name="Straight Arrow Connector 83"/>
            <p:cNvCxnSpPr>
              <a:stCxn id="79" idx="3"/>
              <a:endCxn id="80" idx="2"/>
            </p:cNvCxnSpPr>
            <p:nvPr/>
          </p:nvCxnSpPr>
          <p:spPr>
            <a:xfrm flipV="1">
              <a:off x="7615981" y="4337676"/>
              <a:ext cx="512305" cy="373012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1" name="Group 320"/>
          <p:cNvGrpSpPr/>
          <p:nvPr/>
        </p:nvGrpSpPr>
        <p:grpSpPr>
          <a:xfrm>
            <a:off x="3047240" y="3216124"/>
            <a:ext cx="768983" cy="1123075"/>
            <a:chOff x="3047240" y="3216124"/>
            <a:chExt cx="768983" cy="1123075"/>
          </a:xfrm>
        </p:grpSpPr>
        <p:sp>
          <p:nvSpPr>
            <p:cNvPr id="85" name="Rounded Rectangle 84"/>
            <p:cNvSpPr/>
            <p:nvPr/>
          </p:nvSpPr>
          <p:spPr>
            <a:xfrm>
              <a:off x="3047240" y="3640699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Riesgo Sanitario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87" name="Straight Arrow Connector 86"/>
            <p:cNvCxnSpPr>
              <a:stCxn id="6" idx="2"/>
              <a:endCxn id="85" idx="0"/>
            </p:cNvCxnSpPr>
            <p:nvPr/>
          </p:nvCxnSpPr>
          <p:spPr>
            <a:xfrm>
              <a:off x="3419582" y="3216124"/>
              <a:ext cx="12150" cy="424575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1" name="Group 330"/>
          <p:cNvGrpSpPr/>
          <p:nvPr/>
        </p:nvGrpSpPr>
        <p:grpSpPr>
          <a:xfrm>
            <a:off x="3816223" y="3989949"/>
            <a:ext cx="3860152" cy="2579216"/>
            <a:chOff x="3816223" y="3989949"/>
            <a:chExt cx="3860152" cy="2579216"/>
          </a:xfrm>
        </p:grpSpPr>
        <p:sp>
          <p:nvSpPr>
            <p:cNvPr id="89" name="Rounded Rectangle 88"/>
            <p:cNvSpPr/>
            <p:nvPr/>
          </p:nvSpPr>
          <p:spPr>
            <a:xfrm>
              <a:off x="6907392" y="5870665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Control de Poblaciones</a:t>
              </a:r>
            </a:p>
          </p:txBody>
        </p:sp>
        <p:cxnSp>
          <p:nvCxnSpPr>
            <p:cNvPr id="92" name="Straight Arrow Connector 91"/>
            <p:cNvCxnSpPr>
              <a:stCxn id="85" idx="3"/>
              <a:endCxn id="89" idx="1"/>
            </p:cNvCxnSpPr>
            <p:nvPr/>
          </p:nvCxnSpPr>
          <p:spPr>
            <a:xfrm>
              <a:off x="3816223" y="3989949"/>
              <a:ext cx="3091169" cy="2229966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5" name="Group 324"/>
          <p:cNvGrpSpPr/>
          <p:nvPr/>
        </p:nvGrpSpPr>
        <p:grpSpPr>
          <a:xfrm>
            <a:off x="6786325" y="2488869"/>
            <a:ext cx="1341961" cy="1150307"/>
            <a:chOff x="6786325" y="2488869"/>
            <a:chExt cx="1341961" cy="1150307"/>
          </a:xfrm>
        </p:grpSpPr>
        <p:sp>
          <p:nvSpPr>
            <p:cNvPr id="111" name="Rounded Rectangle 110"/>
            <p:cNvSpPr/>
            <p:nvPr/>
          </p:nvSpPr>
          <p:spPr>
            <a:xfrm>
              <a:off x="6786325" y="2488869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err="1">
                  <a:solidFill>
                    <a:schemeClr val="tx1"/>
                  </a:solidFill>
                </a:rPr>
                <a:t>Capacidadde</a:t>
              </a:r>
              <a:r>
                <a:rPr lang="es-ES_tradnl" sz="800" b="1" dirty="0">
                  <a:solidFill>
                    <a:schemeClr val="tx1"/>
                  </a:solidFill>
                </a:rPr>
                <a:t> la RISS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113" name="Straight Arrow Connector 112"/>
            <p:cNvCxnSpPr>
              <a:stCxn id="111" idx="3"/>
              <a:endCxn id="80" idx="0"/>
            </p:cNvCxnSpPr>
            <p:nvPr/>
          </p:nvCxnSpPr>
          <p:spPr>
            <a:xfrm>
              <a:off x="7555308" y="2838119"/>
              <a:ext cx="572978" cy="801057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7" name="Group 326"/>
          <p:cNvGrpSpPr/>
          <p:nvPr/>
        </p:nvGrpSpPr>
        <p:grpSpPr>
          <a:xfrm>
            <a:off x="8512777" y="3639176"/>
            <a:ext cx="1067730" cy="698500"/>
            <a:chOff x="8512777" y="3639176"/>
            <a:chExt cx="1067730" cy="698500"/>
          </a:xfrm>
        </p:grpSpPr>
        <p:sp>
          <p:nvSpPr>
            <p:cNvPr id="122" name="Rounded Rectangle 121"/>
            <p:cNvSpPr/>
            <p:nvPr/>
          </p:nvSpPr>
          <p:spPr>
            <a:xfrm>
              <a:off x="8811524" y="3639176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Monitoreo de la RISS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124" name="Straight Arrow Connector 123"/>
            <p:cNvCxnSpPr>
              <a:stCxn id="80" idx="3"/>
              <a:endCxn id="122" idx="1"/>
            </p:cNvCxnSpPr>
            <p:nvPr/>
          </p:nvCxnSpPr>
          <p:spPr>
            <a:xfrm>
              <a:off x="8512777" y="3988426"/>
              <a:ext cx="298747" cy="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7" name="Group 316"/>
          <p:cNvGrpSpPr/>
          <p:nvPr/>
        </p:nvGrpSpPr>
        <p:grpSpPr>
          <a:xfrm>
            <a:off x="606570" y="3233662"/>
            <a:ext cx="934183" cy="1817370"/>
            <a:chOff x="606570" y="3233662"/>
            <a:chExt cx="934183" cy="1817370"/>
          </a:xfrm>
        </p:grpSpPr>
        <p:sp>
          <p:nvSpPr>
            <p:cNvPr id="126" name="Rounded Rectangle 125"/>
            <p:cNvSpPr/>
            <p:nvPr/>
          </p:nvSpPr>
          <p:spPr>
            <a:xfrm>
              <a:off x="606570" y="4352532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Acompañamiento en la espera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133" name="Straight Arrow Connector 132"/>
            <p:cNvCxnSpPr>
              <a:stCxn id="4" idx="2"/>
              <a:endCxn id="126" idx="0"/>
            </p:cNvCxnSpPr>
            <p:nvPr/>
          </p:nvCxnSpPr>
          <p:spPr>
            <a:xfrm flipH="1">
              <a:off x="991062" y="3233662"/>
              <a:ext cx="549691" cy="111887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8" name="Group 317"/>
          <p:cNvGrpSpPr/>
          <p:nvPr/>
        </p:nvGrpSpPr>
        <p:grpSpPr>
          <a:xfrm>
            <a:off x="1511275" y="3233662"/>
            <a:ext cx="768983" cy="1817370"/>
            <a:chOff x="1511275" y="3233662"/>
            <a:chExt cx="768983" cy="1817370"/>
          </a:xfrm>
        </p:grpSpPr>
        <p:sp>
          <p:nvSpPr>
            <p:cNvPr id="127" name="Rounded Rectangle 126"/>
            <p:cNvSpPr/>
            <p:nvPr/>
          </p:nvSpPr>
          <p:spPr>
            <a:xfrm>
              <a:off x="1511275" y="4352532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err="1">
                  <a:solidFill>
                    <a:schemeClr val="tx1"/>
                  </a:solidFill>
                </a:rPr>
                <a:t>Comunicaci</a:t>
              </a:r>
              <a:r>
                <a:rPr lang="es-ES" sz="800" b="1" dirty="0" err="1">
                  <a:solidFill>
                    <a:schemeClr val="tx1"/>
                  </a:solidFill>
                </a:rPr>
                <a:t>ón</a:t>
              </a:r>
              <a:r>
                <a:rPr lang="es-ES" sz="800" b="1" dirty="0">
                  <a:solidFill>
                    <a:schemeClr val="tx1"/>
                  </a:solidFill>
                </a:rPr>
                <a:t> y transparencia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137" name="Straight Arrow Connector 136"/>
            <p:cNvCxnSpPr>
              <a:stCxn id="4" idx="2"/>
              <a:endCxn id="127" idx="0"/>
            </p:cNvCxnSpPr>
            <p:nvPr/>
          </p:nvCxnSpPr>
          <p:spPr>
            <a:xfrm>
              <a:off x="1540753" y="3233662"/>
              <a:ext cx="355014" cy="111887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9" name="Group 328"/>
          <p:cNvGrpSpPr/>
          <p:nvPr/>
        </p:nvGrpSpPr>
        <p:grpSpPr>
          <a:xfrm>
            <a:off x="5106177" y="3988426"/>
            <a:ext cx="2541889" cy="1826825"/>
            <a:chOff x="5106177" y="3988426"/>
            <a:chExt cx="2541889" cy="1826825"/>
          </a:xfrm>
        </p:grpSpPr>
        <p:sp>
          <p:nvSpPr>
            <p:cNvPr id="215" name="Rounded Rectangle 214"/>
            <p:cNvSpPr/>
            <p:nvPr/>
          </p:nvSpPr>
          <p:spPr>
            <a:xfrm>
              <a:off x="6879083" y="5116751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 err="1">
                  <a:solidFill>
                    <a:schemeClr val="tx1"/>
                  </a:solidFill>
                </a:rPr>
                <a:t>Programacion</a:t>
              </a:r>
              <a:r>
                <a:rPr lang="es-ES_tradnl" sz="800" b="1" dirty="0">
                  <a:solidFill>
                    <a:schemeClr val="tx1"/>
                  </a:solidFill>
                </a:rPr>
                <a:t> de Pabellones Q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217" name="Straight Arrow Connector 216"/>
            <p:cNvCxnSpPr>
              <a:stCxn id="101" idx="3"/>
              <a:endCxn id="215" idx="1"/>
            </p:cNvCxnSpPr>
            <p:nvPr/>
          </p:nvCxnSpPr>
          <p:spPr>
            <a:xfrm>
              <a:off x="5106177" y="3988426"/>
              <a:ext cx="1772906" cy="1477575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2" name="Group 321"/>
          <p:cNvGrpSpPr/>
          <p:nvPr/>
        </p:nvGrpSpPr>
        <p:grpSpPr>
          <a:xfrm>
            <a:off x="3816223" y="3639176"/>
            <a:ext cx="1289954" cy="698500"/>
            <a:chOff x="3816223" y="3639176"/>
            <a:chExt cx="1289954" cy="698500"/>
          </a:xfrm>
        </p:grpSpPr>
        <p:sp>
          <p:nvSpPr>
            <p:cNvPr id="101" name="Rounded Rectangle 100"/>
            <p:cNvSpPr/>
            <p:nvPr/>
          </p:nvSpPr>
          <p:spPr>
            <a:xfrm>
              <a:off x="4337194" y="3639176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_tradnl" sz="800" b="1" dirty="0">
                  <a:solidFill>
                    <a:schemeClr val="tx1"/>
                  </a:solidFill>
                </a:rPr>
                <a:t>LE Priorizada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280" name="Straight Arrow Connector 279"/>
            <p:cNvCxnSpPr>
              <a:stCxn id="85" idx="3"/>
              <a:endCxn id="101" idx="1"/>
            </p:cNvCxnSpPr>
            <p:nvPr/>
          </p:nvCxnSpPr>
          <p:spPr>
            <a:xfrm flipV="1">
              <a:off x="3816223" y="3988426"/>
              <a:ext cx="520971" cy="1523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3" name="Group 322"/>
          <p:cNvGrpSpPr/>
          <p:nvPr/>
        </p:nvGrpSpPr>
        <p:grpSpPr>
          <a:xfrm>
            <a:off x="4337194" y="2509125"/>
            <a:ext cx="768983" cy="1130051"/>
            <a:chOff x="4337194" y="2509125"/>
            <a:chExt cx="768983" cy="1130051"/>
          </a:xfrm>
        </p:grpSpPr>
        <p:sp>
          <p:nvSpPr>
            <p:cNvPr id="61" name="Rounded Rectangle 60"/>
            <p:cNvSpPr/>
            <p:nvPr/>
          </p:nvSpPr>
          <p:spPr>
            <a:xfrm>
              <a:off x="4337194" y="2509125"/>
              <a:ext cx="768983" cy="698500"/>
            </a:xfrm>
            <a:prstGeom prst="roundRect">
              <a:avLst/>
            </a:prstGeom>
            <a:solidFill>
              <a:schemeClr val="accent5">
                <a:lumMod val="75000"/>
                <a:lumOff val="25000"/>
              </a:schemeClr>
            </a:solidFill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" sz="800" b="1" dirty="0">
                  <a:solidFill>
                    <a:schemeClr val="tx1"/>
                  </a:solidFill>
                </a:rPr>
                <a:t>Agravantes </a:t>
              </a:r>
              <a:r>
                <a:rPr lang="es-ES" sz="800" b="1" dirty="0" err="1">
                  <a:solidFill>
                    <a:schemeClr val="tx1"/>
                  </a:solidFill>
                </a:rPr>
                <a:t>biosicosocial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293" name="Straight Arrow Connector 292"/>
            <p:cNvCxnSpPr>
              <a:stCxn id="61" idx="2"/>
              <a:endCxn id="101" idx="0"/>
            </p:cNvCxnSpPr>
            <p:nvPr/>
          </p:nvCxnSpPr>
          <p:spPr>
            <a:xfrm>
              <a:off x="4721686" y="3207625"/>
              <a:ext cx="0" cy="431551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0" name="Group 339"/>
          <p:cNvGrpSpPr/>
          <p:nvPr/>
        </p:nvGrpSpPr>
        <p:grpSpPr>
          <a:xfrm>
            <a:off x="5400947" y="991882"/>
            <a:ext cx="994048" cy="5602352"/>
            <a:chOff x="5400947" y="991882"/>
            <a:chExt cx="994048" cy="5602352"/>
          </a:xfrm>
        </p:grpSpPr>
        <p:cxnSp>
          <p:nvCxnSpPr>
            <p:cNvPr id="193" name="Straight Arrow Connector 192"/>
            <p:cNvCxnSpPr/>
            <p:nvPr/>
          </p:nvCxnSpPr>
          <p:spPr>
            <a:xfrm>
              <a:off x="5400947" y="1019534"/>
              <a:ext cx="44380" cy="5574700"/>
            </a:xfrm>
            <a:prstGeom prst="straightConnector1">
              <a:avLst/>
            </a:prstGeom>
            <a:ln>
              <a:solidFill>
                <a:srgbClr val="C00000"/>
              </a:solidFill>
              <a:prstDash val="dash"/>
              <a:tailEnd type="triangle"/>
            </a:ln>
          </p:spPr>
          <p:style>
            <a:lnRef idx="3">
              <a:schemeClr val="accent5"/>
            </a:lnRef>
            <a:fillRef idx="0">
              <a:schemeClr val="accent5"/>
            </a:fillRef>
            <a:effectRef idx="2">
              <a:schemeClr val="accent5"/>
            </a:effectRef>
            <a:fontRef idx="minor">
              <a:schemeClr val="tx1"/>
            </a:fontRef>
          </p:style>
        </p:cxnSp>
        <p:sp>
          <p:nvSpPr>
            <p:cNvPr id="339" name="TextBox 338"/>
            <p:cNvSpPr txBox="1"/>
            <p:nvPr/>
          </p:nvSpPr>
          <p:spPr>
            <a:xfrm>
              <a:off x="5480595" y="991882"/>
              <a:ext cx="914400" cy="34925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72009" tIns="72009" rIns="72009" bIns="72009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1587" indent="0">
                <a:buNone/>
              </a:pPr>
              <a:r>
                <a:rPr lang="es-ES_tradnl" sz="1200" b="1" dirty="0">
                  <a:solidFill>
                    <a:schemeClr val="accent3"/>
                  </a:solidFill>
                </a:rPr>
                <a:t>OCTUBRE</a:t>
              </a:r>
            </a:p>
          </p:txBody>
        </p:sp>
      </p:grpSp>
      <p:sp>
        <p:nvSpPr>
          <p:cNvPr id="341" name="Rounded Rectangle 340"/>
          <p:cNvSpPr/>
          <p:nvPr/>
        </p:nvSpPr>
        <p:spPr>
          <a:xfrm>
            <a:off x="222077" y="5743183"/>
            <a:ext cx="5143601" cy="698500"/>
          </a:xfrm>
          <a:prstGeom prst="roundRect">
            <a:avLst/>
          </a:prstGeom>
          <a:solidFill>
            <a:schemeClr val="accent5">
              <a:lumMod val="75000"/>
              <a:lumOff val="25000"/>
            </a:schemeClr>
          </a:solidFill>
          <a:ln/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ES" sz="800" b="1" dirty="0">
                <a:solidFill>
                  <a:schemeClr val="tx1"/>
                </a:solidFill>
              </a:rPr>
              <a:t>Análisis de Listas de Espera </a:t>
            </a:r>
            <a:endParaRPr lang="es-ES_tradnl" sz="800" b="1" dirty="0">
              <a:solidFill>
                <a:schemeClr val="accent5"/>
              </a:solidFill>
            </a:endParaRPr>
          </a:p>
        </p:txBody>
      </p:sp>
      <p:grpSp>
        <p:nvGrpSpPr>
          <p:cNvPr id="345" name="Group 344"/>
          <p:cNvGrpSpPr/>
          <p:nvPr/>
        </p:nvGrpSpPr>
        <p:grpSpPr>
          <a:xfrm>
            <a:off x="37845" y="2555277"/>
            <a:ext cx="1118416" cy="698500"/>
            <a:chOff x="37845" y="2529877"/>
            <a:chExt cx="1118416" cy="698500"/>
          </a:xfrm>
          <a:solidFill>
            <a:schemeClr val="accent5">
              <a:lumMod val="25000"/>
              <a:lumOff val="75000"/>
            </a:schemeClr>
          </a:solidFill>
        </p:grpSpPr>
        <p:sp>
          <p:nvSpPr>
            <p:cNvPr id="342" name="Rounded Rectangle 341"/>
            <p:cNvSpPr/>
            <p:nvPr/>
          </p:nvSpPr>
          <p:spPr>
            <a:xfrm>
              <a:off x="37845" y="2529877"/>
              <a:ext cx="768983" cy="698500"/>
            </a:xfrm>
            <a:prstGeom prst="roundRect">
              <a:avLst/>
            </a:prstGeom>
            <a:grpFill/>
            <a:ln/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s-ES" sz="800" b="1" dirty="0">
                  <a:solidFill>
                    <a:schemeClr val="accent5"/>
                  </a:solidFill>
                </a:rPr>
                <a:t>LE en Nuevo modelo</a:t>
              </a:r>
              <a:endParaRPr lang="es-ES_tradnl" sz="8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344" name="Straight Arrow Connector 343"/>
            <p:cNvCxnSpPr>
              <a:stCxn id="342" idx="3"/>
              <a:endCxn id="4" idx="1"/>
            </p:cNvCxnSpPr>
            <p:nvPr/>
          </p:nvCxnSpPr>
          <p:spPr>
            <a:xfrm flipV="1">
              <a:off x="806828" y="2871712"/>
              <a:ext cx="349433" cy="7415"/>
            </a:xfrm>
            <a:prstGeom prst="straightConnector1">
              <a:avLst/>
            </a:prstGeom>
            <a:grpFill/>
            <a:ln w="9525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7903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4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xmlns="" id="{5C6E11F1-FA13-6346-9C8A-BE0958508A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7181516"/>
              </p:ext>
            </p:extLst>
          </p:nvPr>
        </p:nvGraphicFramePr>
        <p:xfrm>
          <a:off x="838201" y="610658"/>
          <a:ext cx="105156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9CCC0E7A-31FD-A44B-A469-6D40782B5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239" y="198684"/>
            <a:ext cx="10515600" cy="430887"/>
          </a:xfrm>
        </p:spPr>
        <p:txBody>
          <a:bodyPr/>
          <a:lstStyle/>
          <a:p>
            <a:r>
              <a:rPr lang="en-US" sz="2800" b="1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ínea</a:t>
            </a:r>
            <a:r>
              <a:rPr lang="en-US" sz="2800" b="1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2800" b="1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empo</a:t>
            </a:r>
            <a:r>
              <a:rPr lang="en-US" sz="280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es-ES" sz="2800" b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actual</a:t>
            </a:r>
            <a:endParaRPr lang="en-US" sz="2800" b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Oval 11">
            <a:extLst>
              <a:ext uri="{FF2B5EF4-FFF2-40B4-BE49-F238E27FC236}">
                <a16:creationId xmlns:a16="http://schemas.microsoft.com/office/drawing/2014/main" xmlns="" id="{B19CEDC8-3784-4FE0-BA93-A8B049B63B93}"/>
              </a:ext>
            </a:extLst>
          </p:cNvPr>
          <p:cNvSpPr>
            <a:spLocks/>
          </p:cNvSpPr>
          <p:nvPr/>
        </p:nvSpPr>
        <p:spPr>
          <a:xfrm>
            <a:off x="380772" y="224062"/>
            <a:ext cx="292100" cy="290513"/>
          </a:xfrm>
          <a:prstGeom prst="ellipse">
            <a:avLst/>
          </a:prstGeom>
          <a:solidFill>
            <a:srgbClr val="FF3B3B"/>
          </a:solidFill>
          <a:ln w="9525" cap="flat" cmpd="sng" algn="ctr">
            <a:noFill/>
            <a:prstDash val="solid"/>
          </a:ln>
          <a:effectLst>
            <a:glow>
              <a:srgbClr val="B6BFDF">
                <a:alpha val="40000"/>
              </a:srgbClr>
            </a:glow>
            <a:outerShdw blurRad="101600" sx="64000" sy="64000" rotWithShape="0">
              <a:srgbClr val="33448D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rgbClr val="FFFFFF"/>
            </a:extrusionClr>
            <a:contourClr>
              <a:srgbClr val="7686BA"/>
            </a:contourClr>
          </a:sp3d>
        </p:spPr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</p:spTree>
    <p:extLst>
      <p:ext uri="{BB962C8B-B14F-4D97-AF65-F5344CB8AC3E}">
        <p14:creationId xmlns:p14="http://schemas.microsoft.com/office/powerpoint/2010/main" val="3889219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xmlns="" id="{47FE630A-DB46-4100-A562-A34EEDCDB873}"/>
              </a:ext>
            </a:extLst>
          </p:cNvPr>
          <p:cNvSpPr txBox="1">
            <a:spLocks/>
          </p:cNvSpPr>
          <p:nvPr/>
        </p:nvSpPr>
        <p:spPr bwMode="auto">
          <a:xfrm>
            <a:off x="771503" y="158638"/>
            <a:ext cx="556518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00" b="1" baseline="0">
                <a:solidFill>
                  <a:srgbClr val="0067B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kern="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ínea</a:t>
            </a:r>
            <a:r>
              <a:rPr lang="en-US" sz="2800" kern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2800" kern="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empo</a:t>
            </a:r>
            <a:r>
              <a:rPr lang="en-US" sz="2800" kern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es-ES" sz="2800" b="0" kern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proceso</a:t>
            </a:r>
            <a:endParaRPr lang="en-US" sz="2800" b="0" kern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Oval 11">
            <a:extLst>
              <a:ext uri="{FF2B5EF4-FFF2-40B4-BE49-F238E27FC236}">
                <a16:creationId xmlns:a16="http://schemas.microsoft.com/office/drawing/2014/main" xmlns="" id="{4966A387-578A-4261-A157-56161E6C6C6E}"/>
              </a:ext>
            </a:extLst>
          </p:cNvPr>
          <p:cNvSpPr>
            <a:spLocks/>
          </p:cNvSpPr>
          <p:nvPr/>
        </p:nvSpPr>
        <p:spPr>
          <a:xfrm>
            <a:off x="380772" y="224062"/>
            <a:ext cx="292100" cy="290513"/>
          </a:xfrm>
          <a:prstGeom prst="ellipse">
            <a:avLst/>
          </a:prstGeom>
          <a:solidFill>
            <a:srgbClr val="FF3B3B"/>
          </a:solidFill>
          <a:ln w="9525" cap="flat" cmpd="sng" algn="ctr">
            <a:noFill/>
            <a:prstDash val="solid"/>
          </a:ln>
          <a:effectLst>
            <a:glow>
              <a:srgbClr val="B6BFDF">
                <a:alpha val="40000"/>
              </a:srgbClr>
            </a:glow>
            <a:outerShdw blurRad="101600" sx="64000" sy="64000" rotWithShape="0">
              <a:srgbClr val="33448D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rgbClr val="FFFFFF"/>
            </a:extrusionClr>
            <a:contourClr>
              <a:srgbClr val="7686BA"/>
            </a:contourClr>
          </a:sp3d>
        </p:spPr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graphicFrame>
        <p:nvGraphicFramePr>
          <p:cNvPr id="32" name="Content Placeholder 5">
            <a:extLst>
              <a:ext uri="{FF2B5EF4-FFF2-40B4-BE49-F238E27FC236}">
                <a16:creationId xmlns:a16="http://schemas.microsoft.com/office/drawing/2014/main" xmlns="" id="{D63F9A1D-A8B1-48BD-B3C9-D5949DB9EE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9069580"/>
              </p:ext>
            </p:extLst>
          </p:nvPr>
        </p:nvGraphicFramePr>
        <p:xfrm>
          <a:off x="0" y="1253331"/>
          <a:ext cx="121920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10942819" y="3206886"/>
            <a:ext cx="914401" cy="444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" sz="1600" b="1" dirty="0"/>
              <a:t>5</a:t>
            </a:r>
          </a:p>
          <a:p>
            <a:pPr marL="1587" indent="0" algn="ctr">
              <a:buNone/>
            </a:pPr>
            <a:r>
              <a:rPr lang="es-ES" sz="1600" b="1" dirty="0"/>
              <a:t>meses</a:t>
            </a:r>
          </a:p>
        </p:txBody>
      </p:sp>
    </p:spTree>
    <p:extLst>
      <p:ext uri="{BB962C8B-B14F-4D97-AF65-F5344CB8AC3E}">
        <p14:creationId xmlns:p14="http://schemas.microsoft.com/office/powerpoint/2010/main" val="1169445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xmlns="" id="{47FE630A-DB46-4100-A562-A34EEDCDB873}"/>
              </a:ext>
            </a:extLst>
          </p:cNvPr>
          <p:cNvSpPr txBox="1">
            <a:spLocks/>
          </p:cNvSpPr>
          <p:nvPr/>
        </p:nvSpPr>
        <p:spPr bwMode="auto">
          <a:xfrm>
            <a:off x="771503" y="170628"/>
            <a:ext cx="556518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00" b="1" baseline="0">
                <a:solidFill>
                  <a:srgbClr val="0067B4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kern="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ínea</a:t>
            </a:r>
            <a:r>
              <a:rPr lang="en-US" sz="2800" kern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2800" kern="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empo</a:t>
            </a:r>
            <a:r>
              <a:rPr lang="en-US" sz="2800" kern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es-ES" sz="2800" b="0" kern="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proceso</a:t>
            </a:r>
            <a:endParaRPr lang="en-US" sz="2800" b="0" kern="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Oval 11">
            <a:extLst>
              <a:ext uri="{FF2B5EF4-FFF2-40B4-BE49-F238E27FC236}">
                <a16:creationId xmlns:a16="http://schemas.microsoft.com/office/drawing/2014/main" xmlns="" id="{4966A387-578A-4261-A157-56161E6C6C6E}"/>
              </a:ext>
            </a:extLst>
          </p:cNvPr>
          <p:cNvSpPr>
            <a:spLocks/>
          </p:cNvSpPr>
          <p:nvPr/>
        </p:nvSpPr>
        <p:spPr>
          <a:xfrm>
            <a:off x="380772" y="224062"/>
            <a:ext cx="292100" cy="290513"/>
          </a:xfrm>
          <a:prstGeom prst="ellipse">
            <a:avLst/>
          </a:prstGeom>
          <a:solidFill>
            <a:srgbClr val="FF3B3B"/>
          </a:solidFill>
          <a:ln w="9525" cap="flat" cmpd="sng" algn="ctr">
            <a:noFill/>
            <a:prstDash val="solid"/>
          </a:ln>
          <a:effectLst>
            <a:glow>
              <a:srgbClr val="B6BFDF">
                <a:alpha val="40000"/>
              </a:srgbClr>
            </a:glow>
            <a:outerShdw blurRad="101600" sx="64000" sy="64000" rotWithShape="0">
              <a:srgbClr val="33448D"/>
            </a:outerShdw>
          </a:effectLst>
          <a:scene3d>
            <a:camera prst="orthographicFront"/>
            <a:lightRig rig="balanced" dir="t">
              <a:rot lat="0" lon="0" rev="7800000"/>
            </a:lightRig>
          </a:scene3d>
          <a:sp3d>
            <a:bevelT w="254000" h="31750"/>
            <a:bevelB w="0" h="38100"/>
            <a:extrusionClr>
              <a:srgbClr val="FFFFFF"/>
            </a:extrusionClr>
            <a:contourClr>
              <a:srgbClr val="7686BA"/>
            </a:contourClr>
          </a:sp3d>
        </p:spPr>
        <p:txBody>
          <a:bodyPr wrap="none"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</a:t>
            </a:r>
          </a:p>
        </p:txBody>
      </p:sp>
      <p:graphicFrame>
        <p:nvGraphicFramePr>
          <p:cNvPr id="32" name="Content Placeholder 5">
            <a:extLst>
              <a:ext uri="{FF2B5EF4-FFF2-40B4-BE49-F238E27FC236}">
                <a16:creationId xmlns:a16="http://schemas.microsoft.com/office/drawing/2014/main" xmlns="" id="{D63F9A1D-A8B1-48BD-B3C9-D5949DB9EE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06647"/>
              </p:ext>
            </p:extLst>
          </p:nvPr>
        </p:nvGraphicFramePr>
        <p:xfrm>
          <a:off x="0" y="1253331"/>
          <a:ext cx="121920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CuadroTexto 1"/>
          <p:cNvSpPr txBox="1"/>
          <p:nvPr/>
        </p:nvSpPr>
        <p:spPr>
          <a:xfrm>
            <a:off x="10942819" y="3206886"/>
            <a:ext cx="914401" cy="444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" sz="1600" b="1" dirty="0"/>
              <a:t>10 meses</a:t>
            </a:r>
          </a:p>
        </p:txBody>
      </p:sp>
    </p:spTree>
    <p:extLst>
      <p:ext uri="{BB962C8B-B14F-4D97-AF65-F5344CB8AC3E}">
        <p14:creationId xmlns:p14="http://schemas.microsoft.com/office/powerpoint/2010/main" val="1749291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1D99F0B-66A1-A245-9266-95EEAB002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997" y="223343"/>
            <a:ext cx="9690483" cy="430887"/>
          </a:xfrm>
        </p:spPr>
        <p:txBody>
          <a:bodyPr/>
          <a:lstStyle/>
          <a:p>
            <a:r>
              <a:rPr lang="en-US" sz="28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Navegación</a:t>
            </a:r>
            <a:r>
              <a:rPr lang="en-US" sz="28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28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en</a:t>
            </a:r>
            <a:r>
              <a:rPr lang="en-US" sz="2800" dirty="0">
                <a:latin typeface="Calibri Light" panose="020F0302020204030204" pitchFamily="34" charset="0"/>
                <a:cs typeface="Calibri Light" panose="020F0302020204030204" pitchFamily="34" charset="0"/>
              </a:rPr>
              <a:t> SIG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8E57B38-445C-EE48-A65A-B548A00709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6207" y="2244904"/>
            <a:ext cx="5853024" cy="553998"/>
          </a:xfrm>
          <a:solidFill>
            <a:schemeClr val="accent4"/>
          </a:solidFill>
          <a:ln>
            <a:solidFill>
              <a:srgbClr val="0070C0"/>
            </a:solidFill>
          </a:ln>
        </p:spPr>
        <p:txBody>
          <a:bodyPr anchor="ctr"/>
          <a:lstStyle/>
          <a:p>
            <a:pPr algn="ctr"/>
            <a:r>
              <a:rPr lang="en-US" sz="3600" b="1" dirty="0">
                <a:solidFill>
                  <a:schemeClr val="accent4"/>
                </a:solidFill>
                <a:hlinkClick r:id="rId2"/>
              </a:rPr>
              <a:t>https://</a:t>
            </a:r>
            <a:r>
              <a:rPr lang="en-US" sz="3600" b="1" dirty="0" err="1">
                <a:solidFill>
                  <a:schemeClr val="accent4"/>
                </a:solidFill>
                <a:hlinkClick r:id="rId2"/>
              </a:rPr>
              <a:t>tableau.minsal.cl</a:t>
            </a:r>
            <a:r>
              <a:rPr lang="en-US" sz="3600" b="1" dirty="0">
                <a:solidFill>
                  <a:schemeClr val="accent4"/>
                </a:solidFill>
                <a:hlinkClick r:id="rId2"/>
              </a:rPr>
              <a:t>/</a:t>
            </a:r>
            <a:endParaRPr lang="en-US" sz="36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819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1499793" y="1274164"/>
            <a:ext cx="9952691" cy="3196955"/>
          </a:xfrm>
          <a:prstGeom prst="round2DiagRect">
            <a:avLst>
              <a:gd name="adj1" fmla="val 12191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1697850" lvl="2" indent="-571500" algn="just">
              <a:buClr>
                <a:srgbClr val="C00000"/>
              </a:buClr>
              <a:buFont typeface="+mj-lt"/>
              <a:buAutoNum type="romanLcPeriod"/>
              <a:defRPr/>
            </a:pPr>
            <a:r>
              <a:rPr lang="es-CL" sz="2600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tualizaci</a:t>
            </a:r>
            <a:r>
              <a:rPr lang="es-ES" sz="2600" dirty="0" err="1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ón</a:t>
            </a:r>
            <a:r>
              <a:rPr lang="es-ES" sz="2600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la situación actual</a:t>
            </a:r>
          </a:p>
          <a:p>
            <a:pPr marL="1697850" lvl="2" indent="-571500" algn="just">
              <a:buClr>
                <a:srgbClr val="C00000"/>
              </a:buClr>
              <a:buFont typeface="+mj-lt"/>
              <a:buAutoNum type="romanLcPeriod"/>
              <a:defRPr/>
            </a:pPr>
            <a:r>
              <a:rPr lang="es-CL" sz="2600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mbio en la gesti</a:t>
            </a:r>
            <a:r>
              <a:rPr lang="es-ES" sz="2600" dirty="0" err="1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ón</a:t>
            </a:r>
            <a:r>
              <a:rPr lang="es-ES" sz="2600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las listas de espera</a:t>
            </a:r>
            <a:endParaRPr lang="es-CL" sz="2600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697850" lvl="2" indent="-571500" algn="just">
              <a:buClr>
                <a:srgbClr val="C00000"/>
              </a:buClr>
              <a:buFont typeface="+mj-lt"/>
              <a:buAutoNum type="romanLcPeriod"/>
              <a:defRPr/>
            </a:pPr>
            <a:r>
              <a:rPr lang="es-ES" sz="2600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onentes del nuevo sistema</a:t>
            </a:r>
          </a:p>
          <a:p>
            <a:pPr marL="1697850" lvl="2" indent="-571500" algn="just">
              <a:buClr>
                <a:srgbClr val="C00000"/>
              </a:buClr>
              <a:buFont typeface="+mj-lt"/>
              <a:buAutoNum type="romanLcPeriod"/>
              <a:defRPr/>
            </a:pPr>
            <a:r>
              <a:rPr lang="es-ES" sz="2600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yectos relacionados a listas de espera</a:t>
            </a: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6AB1E24-8667-428B-9C25-B315449EA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617" y="224063"/>
            <a:ext cx="9690483" cy="430887"/>
          </a:xfrm>
        </p:spPr>
        <p:txBody>
          <a:bodyPr/>
          <a:lstStyle/>
          <a:p>
            <a:r>
              <a:rPr lang="es-CL" sz="2800" dirty="0">
                <a:latin typeface="Calibri Light" panose="020F0302020204030204" pitchFamily="34" charset="0"/>
                <a:cs typeface="Calibri Light" panose="020F0302020204030204" pitchFamily="34" charset="0"/>
              </a:rPr>
              <a:t>Agend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28683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391EAD-4BEB-9D43-A16C-EDDCD2A8E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997" y="223343"/>
            <a:ext cx="9690483" cy="584775"/>
          </a:xfrm>
        </p:spPr>
        <p:txBody>
          <a:bodyPr/>
          <a:lstStyle/>
          <a:p>
            <a:r>
              <a:rPr lang="en-US" dirty="0" err="1"/>
              <a:t>Situación</a:t>
            </a:r>
            <a:r>
              <a:rPr lang="en-US" dirty="0"/>
              <a:t> </a:t>
            </a:r>
            <a:r>
              <a:rPr lang="en-US" dirty="0" err="1"/>
              <a:t>Inici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err="1"/>
              <a:t>Deficiencias</a:t>
            </a:r>
            <a:r>
              <a:rPr lang="en-US" dirty="0"/>
              <a:t> y </a:t>
            </a:r>
            <a:r>
              <a:rPr lang="en-US" dirty="0" err="1"/>
              <a:t>limitaciones</a:t>
            </a:r>
            <a:r>
              <a:rPr lang="en-US" dirty="0"/>
              <a:t> del RNLE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xmlns="" id="{76DD9B61-A072-1F47-8AA1-1FF0DE2AE643}"/>
              </a:ext>
            </a:extLst>
          </p:cNvPr>
          <p:cNvSpPr/>
          <p:nvPr/>
        </p:nvSpPr>
        <p:spPr>
          <a:xfrm>
            <a:off x="1487837" y="2030277"/>
            <a:ext cx="8679051" cy="2185261"/>
          </a:xfrm>
          <a:prstGeom prst="roundRect">
            <a:avLst/>
          </a:prstGeom>
          <a:solidFill>
            <a:schemeClr val="accent5">
              <a:lumMod val="50000"/>
              <a:lumOff val="50000"/>
            </a:schemeClr>
          </a:solidFill>
          <a:ln w="9525">
            <a:solidFill>
              <a:schemeClr val="accent5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en-US" sz="2400" dirty="0">
                <a:solidFill>
                  <a:schemeClr val="tx1"/>
                </a:solidFill>
              </a:rPr>
              <a:t>Se </a:t>
            </a:r>
            <a:r>
              <a:rPr lang="en-US" sz="2400" dirty="0" err="1">
                <a:solidFill>
                  <a:schemeClr val="tx1"/>
                </a:solidFill>
              </a:rPr>
              <a:t>detectaron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condiciones</a:t>
            </a:r>
            <a:r>
              <a:rPr lang="en-US" sz="2400" dirty="0">
                <a:solidFill>
                  <a:schemeClr val="tx1"/>
                </a:solidFill>
              </a:rPr>
              <a:t> que </a:t>
            </a:r>
            <a:r>
              <a:rPr lang="en-US" sz="2400" dirty="0" err="1">
                <a:solidFill>
                  <a:schemeClr val="tx1"/>
                </a:solidFill>
              </a:rPr>
              <a:t>generan</a:t>
            </a:r>
            <a:r>
              <a:rPr lang="en-US" sz="2400" dirty="0">
                <a:solidFill>
                  <a:schemeClr val="tx1"/>
                </a:solidFill>
              </a:rPr>
              <a:t> gran </a:t>
            </a:r>
            <a:r>
              <a:rPr lang="en-US" sz="2400" dirty="0" err="1">
                <a:solidFill>
                  <a:schemeClr val="tx1"/>
                </a:solidFill>
              </a:rPr>
              <a:t>variabilidad</a:t>
            </a:r>
            <a:r>
              <a:rPr lang="en-US" sz="2400" dirty="0">
                <a:solidFill>
                  <a:schemeClr val="tx1"/>
                </a:solidFill>
              </a:rPr>
              <a:t> de la </a:t>
            </a:r>
            <a:r>
              <a:rPr lang="en-US" sz="2400" dirty="0" err="1">
                <a:solidFill>
                  <a:schemeClr val="tx1"/>
                </a:solidFill>
              </a:rPr>
              <a:t>información</a:t>
            </a:r>
            <a:r>
              <a:rPr lang="en-US" sz="2400" dirty="0">
                <a:solidFill>
                  <a:schemeClr val="tx1"/>
                </a:solidFill>
              </a:rPr>
              <a:t>, </a:t>
            </a:r>
            <a:r>
              <a:rPr lang="en-US" sz="2400" dirty="0" err="1">
                <a:solidFill>
                  <a:schemeClr val="tx1"/>
                </a:solidFill>
              </a:rPr>
              <a:t>afectando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su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b="1" dirty="0" err="1">
                <a:solidFill>
                  <a:schemeClr val="tx1"/>
                </a:solidFill>
              </a:rPr>
              <a:t>completitud</a:t>
            </a:r>
            <a:r>
              <a:rPr lang="en-US" sz="2400" dirty="0">
                <a:solidFill>
                  <a:schemeClr val="tx1"/>
                </a:solidFill>
              </a:rPr>
              <a:t>, </a:t>
            </a:r>
            <a:r>
              <a:rPr lang="en-US" sz="2400" b="1" dirty="0" err="1">
                <a:solidFill>
                  <a:schemeClr val="tx1"/>
                </a:solidFill>
              </a:rPr>
              <a:t>oportunidad</a:t>
            </a:r>
            <a:r>
              <a:rPr lang="en-US" sz="2400" dirty="0">
                <a:solidFill>
                  <a:schemeClr val="tx1"/>
                </a:solidFill>
              </a:rPr>
              <a:t> y </a:t>
            </a:r>
            <a:r>
              <a:rPr lang="en-US" sz="2400" b="1" dirty="0" err="1">
                <a:solidFill>
                  <a:schemeClr val="tx1"/>
                </a:solidFill>
              </a:rPr>
              <a:t>calidad</a:t>
            </a:r>
            <a:endParaRPr lang="en-US" sz="2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352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C600CF3F-A454-3E43-8D2A-D366BA81AD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7924138"/>
              </p:ext>
            </p:extLst>
          </p:nvPr>
        </p:nvGraphicFramePr>
        <p:xfrm>
          <a:off x="2032000" y="719666"/>
          <a:ext cx="9142278" cy="60065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391EAD-4BEB-9D43-A16C-EDDCD2A8E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461" y="223343"/>
            <a:ext cx="10259878" cy="877163"/>
          </a:xfrm>
        </p:spPr>
        <p:txBody>
          <a:bodyPr/>
          <a:lstStyle/>
          <a:p>
            <a:r>
              <a:rPr lang="en-US" dirty="0" err="1"/>
              <a:t>Situación</a:t>
            </a:r>
            <a:r>
              <a:rPr lang="en-US" dirty="0"/>
              <a:t> </a:t>
            </a:r>
            <a:r>
              <a:rPr lang="en-US" dirty="0" err="1"/>
              <a:t>Inici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err="1"/>
              <a:t>Deficiencias</a:t>
            </a:r>
            <a:r>
              <a:rPr lang="en-US" dirty="0"/>
              <a:t> y </a:t>
            </a:r>
            <a:r>
              <a:rPr lang="en-US" dirty="0" err="1"/>
              <a:t>limitaciones</a:t>
            </a:r>
            <a:r>
              <a:rPr lang="en-US" dirty="0"/>
              <a:t> del RNLE </a:t>
            </a:r>
            <a:r>
              <a:rPr lang="en-US" dirty="0" err="1"/>
              <a:t>según</a:t>
            </a:r>
            <a:r>
              <a:rPr lang="en-US" dirty="0"/>
              <a:t> </a:t>
            </a:r>
            <a:r>
              <a:rPr lang="en-US" dirty="0" err="1"/>
              <a:t>Comisión</a:t>
            </a:r>
            <a:r>
              <a:rPr lang="en-US" dirty="0"/>
              <a:t> </a:t>
            </a:r>
            <a:r>
              <a:rPr lang="en-US" dirty="0" err="1"/>
              <a:t>Médica</a:t>
            </a:r>
            <a:r>
              <a:rPr lang="en-US" dirty="0"/>
              <a:t> </a:t>
            </a:r>
            <a:r>
              <a:rPr lang="en-US" dirty="0" err="1"/>
              <a:t>Asesora</a:t>
            </a:r>
            <a:r>
              <a:rPr lang="en-US" dirty="0"/>
              <a:t> Ministerial 2017</a:t>
            </a:r>
          </a:p>
        </p:txBody>
      </p:sp>
      <p:sp>
        <p:nvSpPr>
          <p:cNvPr id="5" name="Elipse 4"/>
          <p:cNvSpPr/>
          <p:nvPr/>
        </p:nvSpPr>
        <p:spPr>
          <a:xfrm>
            <a:off x="6332206" y="2114878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Elipse 5"/>
          <p:cNvSpPr/>
          <p:nvPr/>
        </p:nvSpPr>
        <p:spPr>
          <a:xfrm>
            <a:off x="6366933" y="3452032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Elipse 6"/>
          <p:cNvSpPr/>
          <p:nvPr/>
        </p:nvSpPr>
        <p:spPr>
          <a:xfrm>
            <a:off x="8499672" y="3429000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Elipse 7"/>
          <p:cNvSpPr/>
          <p:nvPr/>
        </p:nvSpPr>
        <p:spPr>
          <a:xfrm>
            <a:off x="10796312" y="3429000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Elipse 8"/>
          <p:cNvSpPr/>
          <p:nvPr/>
        </p:nvSpPr>
        <p:spPr>
          <a:xfrm>
            <a:off x="6603139" y="4818215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Elipse 9"/>
          <p:cNvSpPr/>
          <p:nvPr/>
        </p:nvSpPr>
        <p:spPr>
          <a:xfrm>
            <a:off x="8549611" y="4821435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Elipse 10"/>
          <p:cNvSpPr/>
          <p:nvPr/>
        </p:nvSpPr>
        <p:spPr>
          <a:xfrm>
            <a:off x="10616339" y="4824655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839961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2CF86F0F-3A76-3C42-8392-F460D12537C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88050708"/>
              </p:ext>
            </p:extLst>
          </p:nvPr>
        </p:nvGraphicFramePr>
        <p:xfrm>
          <a:off x="1939228" y="110050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Elipse 7"/>
          <p:cNvSpPr/>
          <p:nvPr/>
        </p:nvSpPr>
        <p:spPr>
          <a:xfrm>
            <a:off x="6096000" y="2964408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391EAD-4BEB-9D43-A16C-EDDCD2A8E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977" y="223343"/>
            <a:ext cx="10200504" cy="877163"/>
          </a:xfrm>
        </p:spPr>
        <p:txBody>
          <a:bodyPr/>
          <a:lstStyle/>
          <a:p>
            <a:r>
              <a:rPr lang="en-US" dirty="0" err="1"/>
              <a:t>Situación</a:t>
            </a:r>
            <a:r>
              <a:rPr lang="en-US" dirty="0"/>
              <a:t> </a:t>
            </a:r>
            <a:r>
              <a:rPr lang="en-US" dirty="0" err="1"/>
              <a:t>Inici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err="1"/>
              <a:t>Deficiencias</a:t>
            </a:r>
            <a:r>
              <a:rPr lang="en-US" dirty="0"/>
              <a:t> y </a:t>
            </a:r>
            <a:r>
              <a:rPr lang="en-US" dirty="0" err="1"/>
              <a:t>limitaciones</a:t>
            </a:r>
            <a:r>
              <a:rPr lang="en-US" dirty="0"/>
              <a:t> del RNLE </a:t>
            </a:r>
            <a:r>
              <a:rPr lang="en-US" dirty="0" err="1"/>
              <a:t>según</a:t>
            </a:r>
            <a:r>
              <a:rPr lang="en-US" dirty="0"/>
              <a:t> </a:t>
            </a:r>
            <a:r>
              <a:rPr lang="en-US" dirty="0" err="1"/>
              <a:t>Estudio</a:t>
            </a:r>
            <a:r>
              <a:rPr lang="en-US" dirty="0"/>
              <a:t> Centro </a:t>
            </a:r>
            <a:r>
              <a:rPr lang="en-US" dirty="0" err="1"/>
              <a:t>Políticas</a:t>
            </a:r>
            <a:r>
              <a:rPr lang="en-US" dirty="0"/>
              <a:t> </a:t>
            </a:r>
            <a:r>
              <a:rPr lang="en-US" dirty="0" err="1"/>
              <a:t>Públicas</a:t>
            </a:r>
            <a:r>
              <a:rPr lang="en-US" dirty="0"/>
              <a:t> UC 2017</a:t>
            </a:r>
          </a:p>
        </p:txBody>
      </p:sp>
      <p:sp>
        <p:nvSpPr>
          <p:cNvPr id="4" name="Elipse 3"/>
          <p:cNvSpPr/>
          <p:nvPr/>
        </p:nvSpPr>
        <p:spPr>
          <a:xfrm>
            <a:off x="3120504" y="1100506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Elipse 5"/>
          <p:cNvSpPr/>
          <p:nvPr/>
        </p:nvSpPr>
        <p:spPr>
          <a:xfrm>
            <a:off x="6096000" y="1100506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Elipse 6"/>
          <p:cNvSpPr/>
          <p:nvPr/>
        </p:nvSpPr>
        <p:spPr>
          <a:xfrm>
            <a:off x="3120504" y="2997040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" name="Elipse 8"/>
          <p:cNvSpPr/>
          <p:nvPr/>
        </p:nvSpPr>
        <p:spPr>
          <a:xfrm>
            <a:off x="3120504" y="4893574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Elipse 9"/>
          <p:cNvSpPr/>
          <p:nvPr/>
        </p:nvSpPr>
        <p:spPr>
          <a:xfrm>
            <a:off x="6096000" y="4828310"/>
            <a:ext cx="541866" cy="541866"/>
          </a:xfrm>
          <a:prstGeom prst="ellipse">
            <a:avLst/>
          </a:prstGeom>
          <a:blipFill rotWithShape="0">
            <a:blip r:embed="rId8"/>
            <a:srcRect/>
            <a:stretch>
              <a:fillRect/>
            </a:stretch>
          </a:blipFill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4136282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391EAD-4BEB-9D43-A16C-EDDCD2A8E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997" y="223343"/>
            <a:ext cx="9690483" cy="584775"/>
          </a:xfrm>
        </p:spPr>
        <p:txBody>
          <a:bodyPr/>
          <a:lstStyle/>
          <a:p>
            <a:r>
              <a:rPr lang="en-US" dirty="0" err="1"/>
              <a:t>Situación</a:t>
            </a:r>
            <a:r>
              <a:rPr lang="en-US" dirty="0"/>
              <a:t> </a:t>
            </a:r>
            <a:r>
              <a:rPr lang="en-US" dirty="0" err="1"/>
              <a:t>Inici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err="1"/>
              <a:t>Recomendaciones</a:t>
            </a:r>
            <a:r>
              <a:rPr lang="en-US" dirty="0"/>
              <a:t> de la </a:t>
            </a:r>
            <a:r>
              <a:rPr lang="en-US" dirty="0" err="1"/>
              <a:t>Comisión</a:t>
            </a:r>
            <a:r>
              <a:rPr lang="en-US" dirty="0"/>
              <a:t> </a:t>
            </a:r>
            <a:r>
              <a:rPr lang="en-US" dirty="0" err="1"/>
              <a:t>Médica</a:t>
            </a:r>
            <a:r>
              <a:rPr lang="en-US" dirty="0"/>
              <a:t> </a:t>
            </a:r>
            <a:r>
              <a:rPr lang="en-US" dirty="0" err="1"/>
              <a:t>Asesora</a:t>
            </a:r>
            <a:r>
              <a:rPr lang="en-US" dirty="0"/>
              <a:t> Ministerial 2017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4F7A6440-F83A-6E4E-93A6-D60E57F33ABB}"/>
              </a:ext>
            </a:extLst>
          </p:cNvPr>
          <p:cNvGraphicFramePr/>
          <p:nvPr/>
        </p:nvGraphicFramePr>
        <p:xfrm>
          <a:off x="726997" y="1162373"/>
          <a:ext cx="9390251" cy="5006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569433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391EAD-4BEB-9D43-A16C-EDDCD2A8E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997" y="223343"/>
            <a:ext cx="9690483" cy="584775"/>
          </a:xfrm>
        </p:spPr>
        <p:txBody>
          <a:bodyPr/>
          <a:lstStyle/>
          <a:p>
            <a:r>
              <a:rPr lang="en-US" dirty="0" err="1"/>
              <a:t>Situación</a:t>
            </a:r>
            <a:r>
              <a:rPr lang="en-US" dirty="0"/>
              <a:t> </a:t>
            </a:r>
            <a:r>
              <a:rPr lang="en-US" dirty="0" err="1"/>
              <a:t>Inici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err="1"/>
              <a:t>Recomendaciones</a:t>
            </a:r>
            <a:r>
              <a:rPr lang="en-US" dirty="0"/>
              <a:t> de la </a:t>
            </a:r>
            <a:r>
              <a:rPr lang="en-US" dirty="0" err="1"/>
              <a:t>Comisión</a:t>
            </a:r>
            <a:r>
              <a:rPr lang="en-US" dirty="0"/>
              <a:t> </a:t>
            </a:r>
            <a:r>
              <a:rPr lang="en-US" dirty="0" err="1"/>
              <a:t>Médica</a:t>
            </a:r>
            <a:r>
              <a:rPr lang="en-US" dirty="0"/>
              <a:t> </a:t>
            </a:r>
            <a:r>
              <a:rPr lang="en-US" dirty="0" err="1"/>
              <a:t>Asesora</a:t>
            </a:r>
            <a:r>
              <a:rPr lang="en-US" dirty="0"/>
              <a:t> Ministerial 2017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4F7A6440-F83A-6E4E-93A6-D60E57F33ABB}"/>
              </a:ext>
            </a:extLst>
          </p:cNvPr>
          <p:cNvGraphicFramePr/>
          <p:nvPr/>
        </p:nvGraphicFramePr>
        <p:xfrm>
          <a:off x="726997" y="1162373"/>
          <a:ext cx="9390251" cy="5006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7916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391EAD-4BEB-9D43-A16C-EDDCD2A8E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997" y="223343"/>
            <a:ext cx="9690483" cy="584775"/>
          </a:xfrm>
        </p:spPr>
        <p:txBody>
          <a:bodyPr/>
          <a:lstStyle/>
          <a:p>
            <a:r>
              <a:rPr lang="en-US" dirty="0" err="1"/>
              <a:t>Situación</a:t>
            </a:r>
            <a:r>
              <a:rPr lang="en-US" dirty="0"/>
              <a:t> </a:t>
            </a:r>
            <a:r>
              <a:rPr lang="en-US" dirty="0" err="1"/>
              <a:t>Inicial</a:t>
            </a:r>
            <a:r>
              <a:rPr lang="en-US" dirty="0"/>
              <a:t>:</a:t>
            </a:r>
            <a:br>
              <a:rPr lang="en-US" dirty="0"/>
            </a:br>
            <a:r>
              <a:rPr lang="en-US" dirty="0" err="1"/>
              <a:t>Recomendaciones</a:t>
            </a:r>
            <a:r>
              <a:rPr lang="en-US" dirty="0"/>
              <a:t> del </a:t>
            </a:r>
            <a:r>
              <a:rPr lang="en-US" dirty="0" err="1"/>
              <a:t>Estudio</a:t>
            </a:r>
            <a:r>
              <a:rPr lang="en-US" dirty="0"/>
              <a:t> Centro </a:t>
            </a:r>
            <a:r>
              <a:rPr lang="en-US" dirty="0" err="1"/>
              <a:t>Políticas</a:t>
            </a:r>
            <a:r>
              <a:rPr lang="en-US" dirty="0"/>
              <a:t> </a:t>
            </a:r>
            <a:r>
              <a:rPr lang="en-US" dirty="0" err="1"/>
              <a:t>Públicas</a:t>
            </a:r>
            <a:r>
              <a:rPr lang="en-US" dirty="0"/>
              <a:t> UC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4F7A6440-F83A-6E4E-93A6-D60E57F33ABB}"/>
              </a:ext>
            </a:extLst>
          </p:cNvPr>
          <p:cNvGraphicFramePr/>
          <p:nvPr/>
        </p:nvGraphicFramePr>
        <p:xfrm>
          <a:off x="726997" y="1162373"/>
          <a:ext cx="9390251" cy="5006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388854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8394A6-3716-A44E-B280-98AEB6C0B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876" y="239653"/>
            <a:ext cx="10515600" cy="615536"/>
          </a:xfrm>
        </p:spPr>
        <p:txBody>
          <a:bodyPr>
            <a:normAutofit/>
          </a:bodyPr>
          <a:lstStyle/>
          <a:p>
            <a:r>
              <a:rPr lang="en-US" sz="280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tiguo</a:t>
            </a:r>
            <a:r>
              <a:rPr lang="en-US" sz="280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280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gistro</a:t>
            </a:r>
            <a:r>
              <a:rPr lang="en-US" sz="280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Nacional de </a:t>
            </a:r>
            <a:r>
              <a:rPr lang="en-US" sz="280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stas</a:t>
            </a:r>
            <a:r>
              <a:rPr lang="en-US" sz="2800" dirty="0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de </a:t>
            </a:r>
            <a:r>
              <a:rPr lang="en-US" sz="2800" dirty="0" err="1">
                <a:solidFill>
                  <a:srgbClr val="00206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pera</a:t>
            </a:r>
            <a:endParaRPr lang="en-US" sz="2800" dirty="0">
              <a:solidFill>
                <a:srgbClr val="00206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3" name="Content Placeholder 4">
            <a:extLst>
              <a:ext uri="{FF2B5EF4-FFF2-40B4-BE49-F238E27FC236}">
                <a16:creationId xmlns:a16="http://schemas.microsoft.com/office/drawing/2014/main" xmlns="" id="{F0CC0625-CAD1-44EC-996F-78C9D0EEE3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368485" y="1753064"/>
            <a:ext cx="781464" cy="781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Content Placeholder 4">
            <a:extLst>
              <a:ext uri="{FF2B5EF4-FFF2-40B4-BE49-F238E27FC236}">
                <a16:creationId xmlns:a16="http://schemas.microsoft.com/office/drawing/2014/main" xmlns="" id="{3E0F2413-D563-4DA3-A23A-E78533F686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85" y="2534528"/>
            <a:ext cx="781464" cy="781464"/>
          </a:xfrm>
          <a:prstGeom prst="rect">
            <a:avLst/>
          </a:prstGeom>
        </p:spPr>
      </p:pic>
      <p:pic>
        <p:nvPicPr>
          <p:cNvPr id="37" name="Content Placeholder 4">
            <a:extLst>
              <a:ext uri="{FF2B5EF4-FFF2-40B4-BE49-F238E27FC236}">
                <a16:creationId xmlns:a16="http://schemas.microsoft.com/office/drawing/2014/main" xmlns="" id="{CCEECE2D-BF3C-45A1-A792-89F71EFABA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85" y="3315992"/>
            <a:ext cx="781464" cy="781464"/>
          </a:xfrm>
          <a:prstGeom prst="rect">
            <a:avLst/>
          </a:prstGeom>
        </p:spPr>
      </p:pic>
      <p:pic>
        <p:nvPicPr>
          <p:cNvPr id="39" name="Content Placeholder 4">
            <a:extLst>
              <a:ext uri="{FF2B5EF4-FFF2-40B4-BE49-F238E27FC236}">
                <a16:creationId xmlns:a16="http://schemas.microsoft.com/office/drawing/2014/main" xmlns="" id="{548A2D3E-74B0-40BC-8EDD-B1B2C7D367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85" y="4097456"/>
            <a:ext cx="781464" cy="781464"/>
          </a:xfrm>
          <a:prstGeom prst="rect">
            <a:avLst/>
          </a:prstGeom>
        </p:spPr>
      </p:pic>
      <p:pic>
        <p:nvPicPr>
          <p:cNvPr id="41" name="Content Placeholder 4">
            <a:extLst>
              <a:ext uri="{FF2B5EF4-FFF2-40B4-BE49-F238E27FC236}">
                <a16:creationId xmlns:a16="http://schemas.microsoft.com/office/drawing/2014/main" xmlns="" id="{B5F7493F-5FB6-49CA-B64D-E22705FA79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8485" y="4878920"/>
            <a:ext cx="781464" cy="781464"/>
          </a:xfrm>
          <a:prstGeom prst="rect">
            <a:avLst/>
          </a:prstGeom>
        </p:spPr>
      </p:pic>
      <p:pic>
        <p:nvPicPr>
          <p:cNvPr id="43" name="Picture 10">
            <a:extLst>
              <a:ext uri="{FF2B5EF4-FFF2-40B4-BE49-F238E27FC236}">
                <a16:creationId xmlns:a16="http://schemas.microsoft.com/office/drawing/2014/main" xmlns="" id="{95923092-ED25-434F-B018-8066192951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8545" y="2844229"/>
            <a:ext cx="1724990" cy="1724990"/>
          </a:xfrm>
          <a:prstGeom prst="rect">
            <a:avLst/>
          </a:prstGeom>
        </p:spPr>
      </p:pic>
      <p:pic>
        <p:nvPicPr>
          <p:cNvPr id="44" name="Picture 12">
            <a:extLst>
              <a:ext uri="{FF2B5EF4-FFF2-40B4-BE49-F238E27FC236}">
                <a16:creationId xmlns:a16="http://schemas.microsoft.com/office/drawing/2014/main" xmlns="" id="{38F87A6E-66F8-4465-A72B-7E5B6253BA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95626" y="2815388"/>
            <a:ext cx="1782671" cy="1782671"/>
          </a:xfrm>
          <a:prstGeom prst="rect">
            <a:avLst/>
          </a:prstGeom>
        </p:spPr>
      </p:pic>
      <p:pic>
        <p:nvPicPr>
          <p:cNvPr id="46" name="Picture 16">
            <a:extLst>
              <a:ext uri="{FF2B5EF4-FFF2-40B4-BE49-F238E27FC236}">
                <a16:creationId xmlns:a16="http://schemas.microsoft.com/office/drawing/2014/main" xmlns="" id="{A5F98995-9490-4380-8A31-FE20913975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90336" y="2884515"/>
            <a:ext cx="1711953" cy="1639104"/>
          </a:xfrm>
          <a:prstGeom prst="rect">
            <a:avLst/>
          </a:prstGeom>
        </p:spPr>
      </p:pic>
      <p:pic>
        <p:nvPicPr>
          <p:cNvPr id="47" name="Picture 18">
            <a:extLst>
              <a:ext uri="{FF2B5EF4-FFF2-40B4-BE49-F238E27FC236}">
                <a16:creationId xmlns:a16="http://schemas.microsoft.com/office/drawing/2014/main" xmlns="" id="{692BE6B9-34E0-4A1D-9317-EB5E34454A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34772" y="1707348"/>
            <a:ext cx="1588007" cy="1588007"/>
          </a:xfrm>
          <a:prstGeom prst="rect">
            <a:avLst/>
          </a:prstGeom>
        </p:spPr>
      </p:pic>
      <p:pic>
        <p:nvPicPr>
          <p:cNvPr id="49" name="Picture 22">
            <a:extLst>
              <a:ext uri="{FF2B5EF4-FFF2-40B4-BE49-F238E27FC236}">
                <a16:creationId xmlns:a16="http://schemas.microsoft.com/office/drawing/2014/main" xmlns="" id="{DB443304-30BF-40EC-AC68-D8DAAA4A58A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4772" y="4089360"/>
            <a:ext cx="1695303" cy="1562284"/>
          </a:xfrm>
          <a:prstGeom prst="rect">
            <a:avLst/>
          </a:prstGeom>
        </p:spPr>
      </p:pic>
      <p:cxnSp>
        <p:nvCxnSpPr>
          <p:cNvPr id="51" name="Straight Arrow Connector 30">
            <a:extLst>
              <a:ext uri="{FF2B5EF4-FFF2-40B4-BE49-F238E27FC236}">
                <a16:creationId xmlns:a16="http://schemas.microsoft.com/office/drawing/2014/main" xmlns="" id="{1BF53F23-35E9-4A8E-9527-3FDEC879C788}"/>
              </a:ext>
            </a:extLst>
          </p:cNvPr>
          <p:cNvCxnSpPr>
            <a:stCxn id="37" idx="3"/>
            <a:endCxn id="43" idx="1"/>
          </p:cNvCxnSpPr>
          <p:nvPr/>
        </p:nvCxnSpPr>
        <p:spPr>
          <a:xfrm>
            <a:off x="1149949" y="3706724"/>
            <a:ext cx="988596" cy="0"/>
          </a:xfrm>
          <a:prstGeom prst="straightConnector1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33">
            <a:extLst>
              <a:ext uri="{FF2B5EF4-FFF2-40B4-BE49-F238E27FC236}">
                <a16:creationId xmlns:a16="http://schemas.microsoft.com/office/drawing/2014/main" xmlns="" id="{FF15C2EC-B17E-4D41-94CD-CFB510D8FC8E}"/>
              </a:ext>
            </a:extLst>
          </p:cNvPr>
          <p:cNvCxnSpPr>
            <a:stCxn id="35" idx="3"/>
            <a:endCxn id="43" idx="1"/>
          </p:cNvCxnSpPr>
          <p:nvPr/>
        </p:nvCxnSpPr>
        <p:spPr>
          <a:xfrm>
            <a:off x="1149949" y="2925260"/>
            <a:ext cx="988596" cy="781464"/>
          </a:xfrm>
          <a:prstGeom prst="bentConnector3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35">
            <a:extLst>
              <a:ext uri="{FF2B5EF4-FFF2-40B4-BE49-F238E27FC236}">
                <a16:creationId xmlns:a16="http://schemas.microsoft.com/office/drawing/2014/main" xmlns="" id="{A890E0A4-058A-4E1D-B55C-1533CCDC7D44}"/>
              </a:ext>
            </a:extLst>
          </p:cNvPr>
          <p:cNvCxnSpPr>
            <a:stCxn id="33" idx="3"/>
            <a:endCxn id="43" idx="1"/>
          </p:cNvCxnSpPr>
          <p:nvPr/>
        </p:nvCxnSpPr>
        <p:spPr>
          <a:xfrm>
            <a:off x="1149949" y="2143796"/>
            <a:ext cx="988596" cy="1562928"/>
          </a:xfrm>
          <a:prstGeom prst="bentConnector3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37">
            <a:extLst>
              <a:ext uri="{FF2B5EF4-FFF2-40B4-BE49-F238E27FC236}">
                <a16:creationId xmlns:a16="http://schemas.microsoft.com/office/drawing/2014/main" xmlns="" id="{A62B82F0-E327-4163-92C8-E2310CB5F8E1}"/>
              </a:ext>
            </a:extLst>
          </p:cNvPr>
          <p:cNvCxnSpPr>
            <a:stCxn id="39" idx="3"/>
            <a:endCxn id="43" idx="1"/>
          </p:cNvCxnSpPr>
          <p:nvPr/>
        </p:nvCxnSpPr>
        <p:spPr>
          <a:xfrm flipV="1">
            <a:off x="1149949" y="3706724"/>
            <a:ext cx="988596" cy="781464"/>
          </a:xfrm>
          <a:prstGeom prst="bentConnector3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39">
            <a:extLst>
              <a:ext uri="{FF2B5EF4-FFF2-40B4-BE49-F238E27FC236}">
                <a16:creationId xmlns:a16="http://schemas.microsoft.com/office/drawing/2014/main" xmlns="" id="{D793667E-85A1-44E8-A2CA-EE27CD83B230}"/>
              </a:ext>
            </a:extLst>
          </p:cNvPr>
          <p:cNvCxnSpPr>
            <a:stCxn id="41" idx="3"/>
            <a:endCxn id="43" idx="1"/>
          </p:cNvCxnSpPr>
          <p:nvPr/>
        </p:nvCxnSpPr>
        <p:spPr>
          <a:xfrm flipV="1">
            <a:off x="1149949" y="3706724"/>
            <a:ext cx="988596" cy="1562928"/>
          </a:xfrm>
          <a:prstGeom prst="bentConnector3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41">
            <a:extLst>
              <a:ext uri="{FF2B5EF4-FFF2-40B4-BE49-F238E27FC236}">
                <a16:creationId xmlns:a16="http://schemas.microsoft.com/office/drawing/2014/main" xmlns="" id="{D76B8111-9581-4790-8C3D-85EC1DAE12E6}"/>
              </a:ext>
            </a:extLst>
          </p:cNvPr>
          <p:cNvCxnSpPr>
            <a:stCxn id="43" idx="3"/>
            <a:endCxn id="44" idx="1"/>
          </p:cNvCxnSpPr>
          <p:nvPr/>
        </p:nvCxnSpPr>
        <p:spPr>
          <a:xfrm>
            <a:off x="3863535" y="3706724"/>
            <a:ext cx="732091" cy="0"/>
          </a:xfrm>
          <a:prstGeom prst="straightConnector1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44">
            <a:extLst>
              <a:ext uri="{FF2B5EF4-FFF2-40B4-BE49-F238E27FC236}">
                <a16:creationId xmlns:a16="http://schemas.microsoft.com/office/drawing/2014/main" xmlns="" id="{518434AE-5FD7-474E-9367-7AD8AFB71FA2}"/>
              </a:ext>
            </a:extLst>
          </p:cNvPr>
          <p:cNvCxnSpPr>
            <a:cxnSpLocks/>
            <a:stCxn id="44" idx="3"/>
            <a:endCxn id="46" idx="1"/>
          </p:cNvCxnSpPr>
          <p:nvPr/>
        </p:nvCxnSpPr>
        <p:spPr>
          <a:xfrm flipV="1">
            <a:off x="6378297" y="3704067"/>
            <a:ext cx="1012039" cy="2657"/>
          </a:xfrm>
          <a:prstGeom prst="straightConnector1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Elbow Connector 47">
            <a:extLst>
              <a:ext uri="{FF2B5EF4-FFF2-40B4-BE49-F238E27FC236}">
                <a16:creationId xmlns:a16="http://schemas.microsoft.com/office/drawing/2014/main" xmlns="" id="{511EEFC5-3F56-411A-8300-A1F9D46C5948}"/>
              </a:ext>
            </a:extLst>
          </p:cNvPr>
          <p:cNvCxnSpPr>
            <a:stCxn id="46" idx="0"/>
            <a:endCxn id="47" idx="1"/>
          </p:cNvCxnSpPr>
          <p:nvPr/>
        </p:nvCxnSpPr>
        <p:spPr>
          <a:xfrm rot="5400000" flipH="1" flipV="1">
            <a:off x="8748961" y="1998705"/>
            <a:ext cx="383163" cy="1388459"/>
          </a:xfrm>
          <a:prstGeom prst="bentConnector2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49">
            <a:extLst>
              <a:ext uri="{FF2B5EF4-FFF2-40B4-BE49-F238E27FC236}">
                <a16:creationId xmlns:a16="http://schemas.microsoft.com/office/drawing/2014/main" xmlns="" id="{865A6B5D-75AF-4377-AA98-FCAFE742E91C}"/>
              </a:ext>
            </a:extLst>
          </p:cNvPr>
          <p:cNvCxnSpPr>
            <a:stCxn id="46" idx="2"/>
            <a:endCxn id="49" idx="1"/>
          </p:cNvCxnSpPr>
          <p:nvPr/>
        </p:nvCxnSpPr>
        <p:spPr>
          <a:xfrm rot="16200000" flipH="1">
            <a:off x="8767101" y="4002830"/>
            <a:ext cx="346883" cy="1388459"/>
          </a:xfrm>
          <a:prstGeom prst="bentConnector2">
            <a:avLst/>
          </a:prstGeom>
          <a:ln w="317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8" name="Table 51">
            <a:extLst>
              <a:ext uri="{FF2B5EF4-FFF2-40B4-BE49-F238E27FC236}">
                <a16:creationId xmlns:a16="http://schemas.microsoft.com/office/drawing/2014/main" xmlns="" id="{CC3A0443-40F2-4281-8BB9-F73441ABF9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0008951"/>
              </p:ext>
            </p:extLst>
          </p:nvPr>
        </p:nvGraphicFramePr>
        <p:xfrm>
          <a:off x="179882" y="1068115"/>
          <a:ext cx="11034594" cy="5791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68643">
                  <a:extLst>
                    <a:ext uri="{9D8B030D-6E8A-4147-A177-3AD203B41FA5}">
                      <a16:colId xmlns:a16="http://schemas.microsoft.com/office/drawing/2014/main" xmlns="" val="3131961912"/>
                    </a:ext>
                  </a:extLst>
                </a:gridCol>
                <a:gridCol w="1512659">
                  <a:extLst>
                    <a:ext uri="{9D8B030D-6E8A-4147-A177-3AD203B41FA5}">
                      <a16:colId xmlns:a16="http://schemas.microsoft.com/office/drawing/2014/main" xmlns="" val="3878900160"/>
                    </a:ext>
                  </a:extLst>
                </a:gridCol>
                <a:gridCol w="7453292">
                  <a:extLst>
                    <a:ext uri="{9D8B030D-6E8A-4147-A177-3AD203B41FA5}">
                      <a16:colId xmlns:a16="http://schemas.microsoft.com/office/drawing/2014/main" xmlns="" val="19675342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STABLECIMIENTOS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RVICIOS DE SALUD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INSAL</a:t>
                      </a:r>
                    </a:p>
                  </a:txBody>
                  <a:tcPr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0706"/>
                  </a:ext>
                </a:extLst>
              </a:tr>
            </a:tbl>
          </a:graphicData>
        </a:graphic>
      </p:graphicFrame>
      <p:graphicFrame>
        <p:nvGraphicFramePr>
          <p:cNvPr id="69" name="Table 52">
            <a:extLst>
              <a:ext uri="{FF2B5EF4-FFF2-40B4-BE49-F238E27FC236}">
                <a16:creationId xmlns:a16="http://schemas.microsoft.com/office/drawing/2014/main" xmlns="" id="{E5B00B66-7F44-4A62-B412-8D0321F0DC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1368751"/>
              </p:ext>
            </p:extLst>
          </p:nvPr>
        </p:nvGraphicFramePr>
        <p:xfrm>
          <a:off x="368485" y="5715091"/>
          <a:ext cx="10854294" cy="822960"/>
        </p:xfrm>
        <a:graphic>
          <a:graphicData uri="http://schemas.openxmlformats.org/drawingml/2006/table">
            <a:tbl>
              <a:tblPr firstRow="1" bandRow="1">
                <a:tableStyleId>{E269D01E-BC32-4049-B463-5C60D7B0CCD2}</a:tableStyleId>
              </a:tblPr>
              <a:tblGrid>
                <a:gridCol w="1679917">
                  <a:extLst>
                    <a:ext uri="{9D8B030D-6E8A-4147-A177-3AD203B41FA5}">
                      <a16:colId xmlns:a16="http://schemas.microsoft.com/office/drawing/2014/main" xmlns="" val="3131961912"/>
                    </a:ext>
                  </a:extLst>
                </a:gridCol>
                <a:gridCol w="1842868">
                  <a:extLst>
                    <a:ext uri="{9D8B030D-6E8A-4147-A177-3AD203B41FA5}">
                      <a16:colId xmlns:a16="http://schemas.microsoft.com/office/drawing/2014/main" xmlns="" val="3878900160"/>
                    </a:ext>
                  </a:extLst>
                </a:gridCol>
                <a:gridCol w="7331509">
                  <a:extLst>
                    <a:ext uri="{9D8B030D-6E8A-4147-A177-3AD203B41FA5}">
                      <a16:colId xmlns:a16="http://schemas.microsoft.com/office/drawing/2014/main" xmlns="" val="19675342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nvio</a:t>
                      </a:r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 </a:t>
                      </a:r>
                      <a:r>
                        <a:rPr lang="en-U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atos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onsolidan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atos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y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realizan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alidaciones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rabajo</a:t>
                      </a:r>
                      <a:r>
                        <a:rPr lang="en-U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en </a:t>
                      </a:r>
                      <a:r>
                        <a:rPr lang="en-U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onsolidaci</a:t>
                      </a:r>
                      <a:r>
                        <a:rPr lang="es-ES" sz="160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ón</a:t>
                      </a:r>
                      <a:r>
                        <a:rPr lang="es-ES" sz="160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e</a:t>
                      </a:r>
                      <a:r>
                        <a:rPr lang="es-E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datos. </a:t>
                      </a:r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ierres</a:t>
                      </a:r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n-US" sz="1600" baseline="0" dirty="0" err="1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ensuales</a:t>
                      </a:r>
                      <a:endParaRPr lang="en-US" sz="16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70706"/>
                  </a:ext>
                </a:extLst>
              </a:tr>
            </a:tbl>
          </a:graphicData>
        </a:graphic>
      </p:graphicFrame>
      <p:sp>
        <p:nvSpPr>
          <p:cNvPr id="70" name="TextBox 58">
            <a:extLst>
              <a:ext uri="{FF2B5EF4-FFF2-40B4-BE49-F238E27FC236}">
                <a16:creationId xmlns:a16="http://schemas.microsoft.com/office/drawing/2014/main" xmlns="" id="{326159C4-93C4-4271-8741-B089AA7B5A2B}"/>
              </a:ext>
            </a:extLst>
          </p:cNvPr>
          <p:cNvSpPr txBox="1"/>
          <p:nvPr/>
        </p:nvSpPr>
        <p:spPr>
          <a:xfrm>
            <a:off x="9995629" y="2957730"/>
            <a:ext cx="8755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Glosa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 6</a:t>
            </a:r>
          </a:p>
        </p:txBody>
      </p:sp>
      <p:sp>
        <p:nvSpPr>
          <p:cNvPr id="71" name="TextBox 59">
            <a:extLst>
              <a:ext uri="{FF2B5EF4-FFF2-40B4-BE49-F238E27FC236}">
                <a16:creationId xmlns:a16="http://schemas.microsoft.com/office/drawing/2014/main" xmlns="" id="{F840C970-728E-45F7-9432-CFEAEA262947}"/>
              </a:ext>
            </a:extLst>
          </p:cNvPr>
          <p:cNvSpPr txBox="1"/>
          <p:nvPr/>
        </p:nvSpPr>
        <p:spPr>
          <a:xfrm>
            <a:off x="9995629" y="3826041"/>
            <a:ext cx="8883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Análisis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2" name="TextBox 60">
            <a:extLst>
              <a:ext uri="{FF2B5EF4-FFF2-40B4-BE49-F238E27FC236}">
                <a16:creationId xmlns:a16="http://schemas.microsoft.com/office/drawing/2014/main" xmlns="" id="{20D994C1-F393-4EBB-A789-2382B436876C}"/>
              </a:ext>
            </a:extLst>
          </p:cNvPr>
          <p:cNvSpPr txBox="1"/>
          <p:nvPr/>
        </p:nvSpPr>
        <p:spPr>
          <a:xfrm>
            <a:off x="5152574" y="2463208"/>
            <a:ext cx="6767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NLE</a:t>
            </a:r>
          </a:p>
        </p:txBody>
      </p:sp>
      <p:sp>
        <p:nvSpPr>
          <p:cNvPr id="73" name="TextBox 61">
            <a:extLst>
              <a:ext uri="{FF2B5EF4-FFF2-40B4-BE49-F238E27FC236}">
                <a16:creationId xmlns:a16="http://schemas.microsoft.com/office/drawing/2014/main" xmlns="" id="{877764C2-187D-4C8E-AD4D-66DCE727427B}"/>
              </a:ext>
            </a:extLst>
          </p:cNvPr>
          <p:cNvSpPr txBox="1"/>
          <p:nvPr/>
        </p:nvSpPr>
        <p:spPr>
          <a:xfrm>
            <a:off x="7820555" y="3531283"/>
            <a:ext cx="8515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IERRE</a:t>
            </a:r>
          </a:p>
        </p:txBody>
      </p:sp>
      <p:sp>
        <p:nvSpPr>
          <p:cNvPr id="74" name="Curved Up Arrow 62">
            <a:extLst>
              <a:ext uri="{FF2B5EF4-FFF2-40B4-BE49-F238E27FC236}">
                <a16:creationId xmlns:a16="http://schemas.microsoft.com/office/drawing/2014/main" xmlns="" id="{BD45B550-AF4C-4788-A080-013CF848DBAA}"/>
              </a:ext>
            </a:extLst>
          </p:cNvPr>
          <p:cNvSpPr/>
          <p:nvPr/>
        </p:nvSpPr>
        <p:spPr>
          <a:xfrm>
            <a:off x="5486961" y="4581866"/>
            <a:ext cx="2582413" cy="461860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5" name="TextBox 63">
            <a:extLst>
              <a:ext uri="{FF2B5EF4-FFF2-40B4-BE49-F238E27FC236}">
                <a16:creationId xmlns:a16="http://schemas.microsoft.com/office/drawing/2014/main" xmlns="" id="{7E19D628-4C60-4E45-AA42-6327702BB309}"/>
              </a:ext>
            </a:extLst>
          </p:cNvPr>
          <p:cNvSpPr txBox="1"/>
          <p:nvPr/>
        </p:nvSpPr>
        <p:spPr>
          <a:xfrm>
            <a:off x="5909979" y="5101973"/>
            <a:ext cx="16318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CIFRA OFICIAL</a:t>
            </a:r>
          </a:p>
        </p:txBody>
      </p:sp>
    </p:spTree>
    <p:extLst>
      <p:ext uri="{BB962C8B-B14F-4D97-AF65-F5344CB8AC3E}">
        <p14:creationId xmlns:p14="http://schemas.microsoft.com/office/powerpoint/2010/main" val="1638733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sal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insal" id="{C7F7C89D-C7C0-4875-902A-395802981BCE}" vid="{0E54E009-6677-4776-8FB7-F5E6770CB03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Minsal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insal" id="{C7F7C89D-C7C0-4875-902A-395802981BCE}" vid="{0E54E009-6677-4776-8FB7-F5E6770CB03D}"/>
    </a:ext>
  </a:extLst>
</a:theme>
</file>

<file path=ppt/theme/theme5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insal</Template>
  <TotalTime>1245</TotalTime>
  <Words>1872</Words>
  <Application>Microsoft Office PowerPoint</Application>
  <PresentationFormat>Panorámica</PresentationFormat>
  <Paragraphs>230</Paragraphs>
  <Slides>16</Slides>
  <Notes>13</Notes>
  <HiddenSlides>6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6</vt:i4>
      </vt:variant>
    </vt:vector>
  </HeadingPairs>
  <TitlesOfParts>
    <vt:vector size="30" baseType="lpstr">
      <vt:lpstr>Arial</vt:lpstr>
      <vt:lpstr>Calibri</vt:lpstr>
      <vt:lpstr>Calibri Light</vt:lpstr>
      <vt:lpstr>Verdana</vt:lpstr>
      <vt:lpstr>Verdana Bold</vt:lpstr>
      <vt:lpstr>Wingdings</vt:lpstr>
      <vt:lpstr>ヒラギノ角ゴ Pro W3</vt:lpstr>
      <vt:lpstr>Minsal</vt:lpstr>
      <vt:lpstr>Tema de Office</vt:lpstr>
      <vt:lpstr>1_Contenido</vt:lpstr>
      <vt:lpstr>1_Minsal</vt:lpstr>
      <vt:lpstr>1_Tema de Office</vt:lpstr>
      <vt:lpstr>2_Contenido</vt:lpstr>
      <vt:lpstr>Diapositiva de think-cell</vt:lpstr>
      <vt:lpstr>Presentación de PowerPoint</vt:lpstr>
      <vt:lpstr>Agenda</vt:lpstr>
      <vt:lpstr>Situación Inicial: Deficiencias y limitaciones del RNLE</vt:lpstr>
      <vt:lpstr>Situación Inicial: Deficiencias y limitaciones del RNLE según Comisión Médica Asesora Ministerial 2017</vt:lpstr>
      <vt:lpstr>Situación Inicial: Deficiencias y limitaciones del RNLE según Estudio Centro Políticas Públicas UC 2017</vt:lpstr>
      <vt:lpstr>Situación Inicial: Recomendaciones de la Comisión Médica Asesora Ministerial 2017</vt:lpstr>
      <vt:lpstr>Situación Inicial: Recomendaciones de la Comisión Médica Asesora Ministerial 2017</vt:lpstr>
      <vt:lpstr>Situación Inicial: Recomendaciones del Estudio Centro Políticas Públicas UC </vt:lpstr>
      <vt:lpstr>Antiguo Registro Nacional de Listas de Espera</vt:lpstr>
      <vt:lpstr>Nuevo Sistema de Información y Gestión de Tiempos de Espera</vt:lpstr>
      <vt:lpstr>Componentes del Nuevo Sistema de Listas de Espera</vt:lpstr>
      <vt:lpstr>Proyectos relacionados a listas de espera…</vt:lpstr>
      <vt:lpstr>Línea de Tiempo: Situación actual</vt:lpstr>
      <vt:lpstr>Presentación de PowerPoint</vt:lpstr>
      <vt:lpstr>Presentación de PowerPoint</vt:lpstr>
      <vt:lpstr>Navegación en SIGTE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stas de Espera</dc:title>
  <dc:creator>Erika Quiroz</dc:creator>
  <cp:lastModifiedBy>Erika Quiroz Quinteros</cp:lastModifiedBy>
  <cp:revision>174</cp:revision>
  <dcterms:created xsi:type="dcterms:W3CDTF">2018-05-21T15:24:29Z</dcterms:created>
  <dcterms:modified xsi:type="dcterms:W3CDTF">2018-05-29T21:34:58Z</dcterms:modified>
</cp:coreProperties>
</file>